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notesSlides/notesSlide1.xml" ContentType="application/vnd.openxmlformats-officedocument.presentationml.notesSlide+xml"/>
  <Override PartName="/ppt/tags/tag61.xml" ContentType="application/vnd.openxmlformats-officedocument.presentationml.tags+xml"/>
  <Override PartName="/ppt/notesSlides/notesSlide2.xml" ContentType="application/vnd.openxmlformats-officedocument.presentationml.notesSlide+xml"/>
  <Override PartName="/ppt/tags/tag62.xml" ContentType="application/vnd.openxmlformats-officedocument.presentationml.tags+xml"/>
  <Override PartName="/ppt/notesSlides/notesSlide3.xml" ContentType="application/vnd.openxmlformats-officedocument.presentationml.notesSlide+xml"/>
  <Override PartName="/ppt/tags/tag63.xml" ContentType="application/vnd.openxmlformats-officedocument.presentationml.tags+xml"/>
  <Override PartName="/ppt/notesSlides/notesSlide4.xml" ContentType="application/vnd.openxmlformats-officedocument.presentationml.notesSlide+xml"/>
  <Override PartName="/ppt/tags/tag64.xml" ContentType="application/vnd.openxmlformats-officedocument.presentationml.tags+xml"/>
  <Override PartName="/ppt/notesSlides/notesSlide5.xml" ContentType="application/vnd.openxmlformats-officedocument.presentationml.notesSlide+xml"/>
  <Override PartName="/ppt/tags/tag65.xml" ContentType="application/vnd.openxmlformats-officedocument.presentationml.tags+xml"/>
  <Override PartName="/ppt/notesSlides/notesSlide6.xml" ContentType="application/vnd.openxmlformats-officedocument.presentationml.notesSlide+xml"/>
  <Override PartName="/ppt/tags/tag66.xml" ContentType="application/vnd.openxmlformats-officedocument.presentationml.tags+xml"/>
  <Override PartName="/ppt/notesSlides/notesSlide7.xml" ContentType="application/vnd.openxmlformats-officedocument.presentationml.notesSlide+xml"/>
  <Override PartName="/ppt/tags/tag67.xml" ContentType="application/vnd.openxmlformats-officedocument.presentationml.tags+xml"/>
  <Override PartName="/ppt/notesSlides/notesSlide8.xml" ContentType="application/vnd.openxmlformats-officedocument.presentationml.notesSlide+xml"/>
  <Override PartName="/ppt/tags/tag68.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744" r:id="rId1"/>
    <p:sldMasterId id="2147483794" r:id="rId2"/>
    <p:sldMasterId id="2147483814" r:id="rId3"/>
    <p:sldMasterId id="2147483854" r:id="rId4"/>
  </p:sldMasterIdLst>
  <p:notesMasterIdLst>
    <p:notesMasterId r:id="rId14"/>
  </p:notesMasterIdLst>
  <p:handoutMasterIdLst>
    <p:handoutMasterId r:id="rId15"/>
  </p:handoutMasterIdLst>
  <p:sldIdLst>
    <p:sldId id="382" r:id="rId5"/>
    <p:sldId id="12080" r:id="rId6"/>
    <p:sldId id="12081" r:id="rId7"/>
    <p:sldId id="12082" r:id="rId8"/>
    <p:sldId id="12083" r:id="rId9"/>
    <p:sldId id="12084" r:id="rId10"/>
    <p:sldId id="12087" r:id="rId11"/>
    <p:sldId id="12085" r:id="rId12"/>
    <p:sldId id="12086" r:id="rId13"/>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2160">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A78B271-E7CA-1482-3551-EFDC3FFC401D}" name="Minks,Jessie Shea" initials="MS" userId="S::Jessica.Minks@gartner.com::f4c7d181-3869-4910-ab0c-b1fdbd38d263" providerId="AD"/>
  <p188:author id="{07C586B9-A594-8CCA-83E9-FD8BDFA1B89E}" name="Mok,Lily" initials="M" userId="S::Lily.Mok@gartner.com::82e1e6ac-9cae-40c3-a26d-b14925e66962" providerId="AD"/>
  <p188:author id="{8966D6C5-F429-98AB-D682-EAE30AA3BFAA}" name="Mok,Lily" initials="Mo" userId="S::lily.mok@gartner.com::82e1e6ac-9cae-40c3-a26d-b14925e66962" providerId="AD"/>
  <p188:author id="{61FF80D1-AB96-7F77-7DC7-F73F0B5B3230}" name="Lever,Scott B." initials="LB" userId="S::Scott.Lever@gartner.com::60d7e51c-cbb6-409c-b5ec-fdd71c1c5b8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A9E4F9"/>
    <a:srgbClr val="D3D3D3"/>
    <a:srgbClr val="142634"/>
    <a:srgbClr val="EBEBEB"/>
    <a:srgbClr val="355578"/>
    <a:srgbClr val="D0DEEA"/>
    <a:srgbClr val="A1B3CA"/>
    <a:srgbClr val="6A80A3"/>
    <a:srgbClr val="7EBFDD"/>
    <a:srgbClr val="DAF3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63" autoAdjust="0"/>
    <p:restoredTop sz="79893" autoAdjust="0"/>
  </p:normalViewPr>
  <p:slideViewPr>
    <p:cSldViewPr snapToGrid="0">
      <p:cViewPr varScale="1">
        <p:scale>
          <a:sx n="40" d="100"/>
          <a:sy n="40" d="100"/>
        </p:scale>
        <p:origin x="936" y="30"/>
      </p:cViewPr>
      <p:guideLst>
        <p:guide orient="horz" pos="2160"/>
        <p:guide pos="3840"/>
      </p:guideLst>
    </p:cSldViewPr>
  </p:slideViewPr>
  <p:outlineViewPr>
    <p:cViewPr>
      <p:scale>
        <a:sx n="33" d="100"/>
        <a:sy n="33" d="100"/>
      </p:scale>
      <p:origin x="0" y="-1272"/>
    </p:cViewPr>
  </p:outlineViewPr>
  <p:notesTextViewPr>
    <p:cViewPr>
      <p:scale>
        <a:sx n="75" d="100"/>
        <a:sy n="75" d="100"/>
      </p:scale>
      <p:origin x="0" y="0"/>
    </p:cViewPr>
  </p:notesTextViewPr>
  <p:sorterViewPr>
    <p:cViewPr varScale="1">
      <p:scale>
        <a:sx n="1" d="1"/>
        <a:sy n="1" d="1"/>
      </p:scale>
      <p:origin x="0" y="-12492"/>
    </p:cViewPr>
  </p:sorterViewPr>
  <p:notesViewPr>
    <p:cSldViewPr snapToGrid="0">
      <p:cViewPr varScale="1">
        <p:scale>
          <a:sx n="48" d="100"/>
          <a:sy n="48" d="100"/>
        </p:scale>
        <p:origin x="1828" y="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5"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0E8F3FD-8012-4C7C-BCFB-C23E18FC275E}" type="datetimeFigureOut">
              <a:rPr lang="en-US" smtClean="0"/>
              <a:t>8/27/2021</a:t>
            </a:fld>
            <a:endParaRPr lang="en-US" dirty="0"/>
          </a:p>
        </p:txBody>
      </p:sp>
      <p:sp>
        <p:nvSpPr>
          <p:cNvPr id="5" name="TextBox 4"/>
          <p:cNvSpPr txBox="1"/>
          <p:nvPr/>
        </p:nvSpPr>
        <p:spPr>
          <a:xfrm>
            <a:off x="242372" y="8918034"/>
            <a:ext cx="6373258" cy="92333"/>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6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600" dirty="0">
                <a:solidFill>
                  <a:srgbClr val="979D9D"/>
                </a:solidFill>
              </a:rPr>
              <a:t>	© 2021 Gartner, Inc. and/or its affiliates. All rights reserved. Gartner is a registered trademark of Gartner, Inc. or its affiliates.</a:t>
            </a:r>
          </a:p>
        </p:txBody>
      </p:sp>
    </p:spTree>
    <p:extLst>
      <p:ext uri="{BB962C8B-B14F-4D97-AF65-F5344CB8AC3E}">
        <p14:creationId xmlns:p14="http://schemas.microsoft.com/office/powerpoint/2010/main" val="102343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31633" y="712472"/>
            <a:ext cx="4794738" cy="2697041"/>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242371" y="3592535"/>
            <a:ext cx="6373258" cy="523481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p:cNvSpPr txBox="1"/>
          <p:nvPr/>
        </p:nvSpPr>
        <p:spPr>
          <a:xfrm rot="16200000">
            <a:off x="-1050931" y="1977711"/>
            <a:ext cx="2725105" cy="138499"/>
          </a:xfrm>
          <a:prstGeom prst="rect">
            <a:avLst/>
          </a:prstGeom>
          <a:noFill/>
        </p:spPr>
        <p:txBody>
          <a:bodyPr wrap="none" lIns="0" tIns="0" rIns="0" bIns="0" rtlCol="0" anchor="ctr">
            <a:spAutoFit/>
          </a:bodyPr>
          <a:lstStyle/>
          <a:p>
            <a:pPr algn="ctr" rtl="0">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2" name="TextBox 11"/>
          <p:cNvSpPr txBox="1"/>
          <p:nvPr/>
        </p:nvSpPr>
        <p:spPr>
          <a:xfrm rot="5400000">
            <a:off x="5183827" y="1977711"/>
            <a:ext cx="2725105" cy="138499"/>
          </a:xfrm>
          <a:prstGeom prst="rect">
            <a:avLst/>
          </a:prstGeom>
          <a:noFill/>
        </p:spPr>
        <p:txBody>
          <a:bodyPr wrap="none" lIns="0" tIns="0" rIns="0" bIns="0" rtlCol="0" anchor="ctr">
            <a:spAutoFit/>
          </a:bodyPr>
          <a:lstStyle/>
          <a:p>
            <a:pPr algn="ctr" rtl="0">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4" name="Text Box 86"/>
          <p:cNvSpPr txBox="1">
            <a:spLocks noChangeArrowheads="1"/>
          </p:cNvSpPr>
          <p:nvPr/>
        </p:nvSpPr>
        <p:spPr bwMode="gray">
          <a:xfrm>
            <a:off x="242373" y="128260"/>
            <a:ext cx="6326067" cy="258458"/>
          </a:xfrm>
          <a:prstGeom prst="rect">
            <a:avLst/>
          </a:prstGeom>
          <a:noFill/>
          <a:ln w="12700">
            <a:noFill/>
            <a:miter lim="800000"/>
            <a:headEnd type="none" w="sm" len="sm"/>
            <a:tailEnd type="none" w="sm" len="sm"/>
          </a:ln>
          <a:effectLst/>
        </p:spPr>
        <p:txBody>
          <a:bodyPr wrap="square" lIns="0" tIns="45683" rIns="91366" bIns="45683" anchor="t" anchorCtr="0">
            <a:spAutoFit/>
          </a:bodyPr>
          <a:lstStyle/>
          <a:p>
            <a:pPr marL="0" marR="0" lvl="0" indent="0" algn="l" defTabSz="912813" rtl="0" eaLnBrk="1" fontAlgn="auto" latinLnBrk="0" hangingPunct="1">
              <a:lnSpc>
                <a:spcPct val="90000"/>
              </a:lnSpc>
              <a:spcBef>
                <a:spcPct val="0"/>
              </a:spcBef>
              <a:spcAft>
                <a:spcPct val="0"/>
              </a:spcAft>
              <a:buClrTx/>
              <a:buSzTx/>
              <a:buFontTx/>
              <a:buNone/>
              <a:tabLst/>
              <a:defRPr/>
            </a:pPr>
            <a:r>
              <a:rPr lang="en-US" sz="1200" b="1" dirty="0"/>
              <a:t>Presentation Title</a:t>
            </a:r>
          </a:p>
        </p:txBody>
      </p:sp>
      <p:sp>
        <p:nvSpPr>
          <p:cNvPr id="8" name="TextBox 7"/>
          <p:cNvSpPr txBox="1"/>
          <p:nvPr/>
        </p:nvSpPr>
        <p:spPr>
          <a:xfrm>
            <a:off x="242372" y="8918034"/>
            <a:ext cx="6373258" cy="92333"/>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6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600" dirty="0">
                <a:solidFill>
                  <a:srgbClr val="979D9D"/>
                </a:solidFill>
              </a:rPr>
              <a:t>	© 2021 Gartner, Inc. and/or its affiliates. All rights reserved. Gartner is a registered trademark of Gartner, Inc. or its affiliates.</a:t>
            </a:r>
          </a:p>
        </p:txBody>
      </p:sp>
    </p:spTree>
    <p:extLst>
      <p:ext uri="{BB962C8B-B14F-4D97-AF65-F5344CB8AC3E}">
        <p14:creationId xmlns:p14="http://schemas.microsoft.com/office/powerpoint/2010/main" val="1265795583"/>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lnSpc>
        <a:spcPct val="90000"/>
      </a:lnSpc>
      <a:spcAft>
        <a:spcPts val="600"/>
      </a:spcAft>
      <a:buFont typeface="Arial" panose="020B0604020202020204" pitchFamily="34" charset="0"/>
      <a:buNone/>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otes Placeholder 4"/>
          <p:cNvSpPr>
            <a:spLocks noGrp="1"/>
          </p:cNvSpPr>
          <p:nvPr>
            <p:ph type="body" idx="1"/>
          </p:nvPr>
        </p:nvSpPr>
        <p:spPr/>
        <p:txBody>
          <a:bodyPr/>
          <a:lstStyle/>
          <a:p>
            <a:pPr>
              <a:spcBef>
                <a:spcPts val="618"/>
              </a:spcBef>
              <a:spcAft>
                <a:spcPts val="0"/>
              </a:spcAft>
            </a:pPr>
            <a:r>
              <a:rPr lang="en-US" dirty="0">
                <a:solidFill>
                  <a:srgbClr val="000000"/>
                </a:solidFill>
              </a:rPr>
              <a:t>CIOs can leverage this deck to communicate with key stakeholders (business executives, HR and IT staff) on the value and importance of developing and implementing an effective IT job architecture that is aligned with enterprise strategy and digital business goals.</a:t>
            </a:r>
          </a:p>
        </p:txBody>
      </p:sp>
      <p:sp>
        <p:nvSpPr>
          <p:cNvPr id="6" name="Rectangle 103"/>
          <p:cNvSpPr>
            <a:spLocks noChangeArrowheads="1"/>
          </p:cNvSpPr>
          <p:nvPr/>
        </p:nvSpPr>
        <p:spPr bwMode="gray">
          <a:xfrm>
            <a:off x="3862389" y="655411"/>
            <a:ext cx="2618422" cy="420582"/>
          </a:xfrm>
          <a:prstGeom prst="rect">
            <a:avLst/>
          </a:prstGeom>
          <a:noFill/>
          <a:ln w="9525">
            <a:noFill/>
            <a:miter lim="800000"/>
            <a:headEnd/>
            <a:tailEnd/>
          </a:ln>
        </p:spPr>
        <p:txBody>
          <a:bodyPr wrap="square" lIns="65028" tIns="25377" rIns="65028" bIns="25377">
            <a:spAutoFit/>
          </a:bodyPr>
          <a:lstStyle/>
          <a:p>
            <a:pPr algn="l" defTabSz="947738">
              <a:lnSpc>
                <a:spcPct val="100000"/>
              </a:lnSpc>
              <a:spcBef>
                <a:spcPct val="0"/>
              </a:spcBef>
              <a:spcAft>
                <a:spcPct val="0"/>
              </a:spcAft>
            </a:pPr>
            <a:r>
              <a:rPr lang="en-US" sz="1200" dirty="0">
                <a:solidFill>
                  <a:srgbClr val="000000"/>
                </a:solidFill>
              </a:rPr>
              <a:t>Presenter's Name</a:t>
            </a:r>
          </a:p>
          <a:p>
            <a:pPr algn="l" defTabSz="947738">
              <a:lnSpc>
                <a:spcPct val="100000"/>
              </a:lnSpc>
              <a:spcBef>
                <a:spcPct val="0"/>
              </a:spcBef>
              <a:spcAft>
                <a:spcPct val="0"/>
              </a:spcAft>
            </a:pPr>
            <a:r>
              <a:rPr lang="en-US" sz="1200" dirty="0">
                <a:solidFill>
                  <a:srgbClr val="000000"/>
                </a:solidFill>
              </a:rPr>
              <a:t>Presenter's Name</a:t>
            </a:r>
          </a:p>
        </p:txBody>
      </p:sp>
      <p:sp>
        <p:nvSpPr>
          <p:cNvPr id="3" name="Slide Image Placeholder 2">
            <a:extLst>
              <a:ext uri="{FF2B5EF4-FFF2-40B4-BE49-F238E27FC236}">
                <a16:creationId xmlns:a16="http://schemas.microsoft.com/office/drawing/2014/main" xmlns="" id="{7CA63253-4008-4A43-BDB3-BF14257D2A0C}"/>
              </a:ext>
            </a:extLst>
          </p:cNvPr>
          <p:cNvSpPr>
            <a:spLocks noGrp="1" noRot="1" noChangeAspect="1"/>
          </p:cNvSpPr>
          <p:nvPr>
            <p:ph type="sldImg"/>
          </p:nvPr>
        </p:nvSpPr>
        <p:spPr>
          <a:xfrm>
            <a:off x="1031875" y="712788"/>
            <a:ext cx="4794250" cy="2697162"/>
          </a:xfrm>
        </p:spPr>
      </p:sp>
    </p:spTree>
    <p:extLst>
      <p:ext uri="{BB962C8B-B14F-4D97-AF65-F5344CB8AC3E}">
        <p14:creationId xmlns:p14="http://schemas.microsoft.com/office/powerpoint/2010/main" val="14876055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pPr defTabSz="942289">
              <a:spcAft>
                <a:spcPts val="618"/>
              </a:spcAft>
              <a:defRPr/>
            </a:pPr>
            <a:r>
              <a:rPr lang="en-US" dirty="0">
                <a:solidFill>
                  <a:schemeClr val="dk1"/>
                </a:solidFill>
                <a:ea typeface="Arial"/>
                <a:cs typeface="Arial"/>
                <a:sym typeface="Arial"/>
              </a:rPr>
              <a:t>We use the term “Architecture” to describe a coherent and consistent approach to defining, organizing and integrating IT jobs and talent requirements as they evolve with business strategy and needs.</a:t>
            </a:r>
            <a:endParaRPr lang="en-US" dirty="0"/>
          </a:p>
        </p:txBody>
      </p:sp>
    </p:spTree>
    <p:extLst>
      <p:ext uri="{BB962C8B-B14F-4D97-AF65-F5344CB8AC3E}">
        <p14:creationId xmlns:p14="http://schemas.microsoft.com/office/powerpoint/2010/main" val="24827897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Job architecture is a collection of jobs within an organization, segmented into meaningful groups and levels, that provides a framework to support career paths. </a:t>
            </a:r>
          </a:p>
          <a:p>
            <a:r>
              <a:rPr lang="en-US" sz="1200" kern="1200" dirty="0">
                <a:solidFill>
                  <a:schemeClr val="tx1"/>
                </a:solidFill>
                <a:effectLst/>
                <a:latin typeface="+mn-lt"/>
                <a:ea typeface="+mn-ea"/>
                <a:cs typeface="+mn-cs"/>
              </a:rPr>
              <a:t>It is not a reporting structure, organization design or operating model.</a:t>
            </a:r>
          </a:p>
        </p:txBody>
      </p:sp>
    </p:spTree>
    <p:extLst>
      <p:ext uri="{BB962C8B-B14F-4D97-AF65-F5344CB8AC3E}">
        <p14:creationId xmlns:p14="http://schemas.microsoft.com/office/powerpoint/2010/main" val="25293868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job architecture lays the foundation and building blocks for effective digital talent management strategy and programs. </a:t>
            </a:r>
          </a:p>
          <a:p>
            <a:pPr marL="0" marR="0" lvl="0" indent="0" algn="l" defTabSz="914400" eaLnBrk="1" fontAlgn="auto" latinLnBrk="0" hangingPunct="1">
              <a:lnSpc>
                <a:spcPct val="90000"/>
              </a:lnSpc>
              <a:spcBef>
                <a:spcPts val="0"/>
              </a:spcBef>
              <a:spcAft>
                <a:spcPts val="600"/>
              </a:spcAft>
              <a:buClrTx/>
              <a:buSzTx/>
              <a:buFontTx/>
              <a:buNone/>
              <a:tabLst/>
              <a:defRPr/>
            </a:pPr>
            <a:r>
              <a:rPr lang="en-US" dirty="0">
                <a:solidFill>
                  <a:schemeClr val="dk1"/>
                </a:solidFill>
                <a:ea typeface="Arial"/>
                <a:cs typeface="Arial"/>
                <a:sym typeface="Arial"/>
              </a:rPr>
              <a:t>The clarity, flexibility, and pathways to growth an effective Job Architecture offer help improve the workforce’s alignment with business strategy and needs</a:t>
            </a:r>
          </a:p>
          <a:p>
            <a:r>
              <a:rPr lang="en-US" sz="1200" kern="1200" dirty="0">
                <a:solidFill>
                  <a:schemeClr val="tx1"/>
                </a:solidFill>
                <a:effectLst/>
                <a:latin typeface="+mn-lt"/>
                <a:ea typeface="+mn-ea"/>
                <a:cs typeface="+mn-cs"/>
              </a:rPr>
              <a:t>There are fives ways an effective Job Architecture help improve alignment with strategy: </a:t>
            </a:r>
          </a:p>
          <a:p>
            <a:r>
              <a:rPr lang="en-US" sz="1200" kern="1200" dirty="0">
                <a:solidFill>
                  <a:schemeClr val="tx1"/>
                </a:solidFill>
                <a:effectLst/>
                <a:latin typeface="+mn-lt"/>
                <a:ea typeface="+mn-ea"/>
                <a:cs typeface="+mn-cs"/>
              </a:rPr>
              <a:t>- </a:t>
            </a:r>
            <a:r>
              <a:rPr lang="en-US" dirty="0">
                <a:solidFill>
                  <a:schemeClr val="dk1"/>
                </a:solidFill>
                <a:ea typeface="Arial"/>
                <a:cs typeface="Arial"/>
                <a:sym typeface="Arial"/>
              </a:rPr>
              <a:t>Effective Job Architecture sharpens and improves workforce planning </a:t>
            </a:r>
            <a:endParaRPr lang="en-US" sz="1200" kern="1200" dirty="0">
              <a:solidFill>
                <a:schemeClr val="tx1"/>
              </a:solidFill>
              <a:effectLst/>
              <a:latin typeface="+mn-lt"/>
              <a:ea typeface="+mn-ea"/>
              <a:cs typeface="+mn-cs"/>
            </a:endParaRPr>
          </a:p>
          <a:p>
            <a:pPr marL="0" marR="0" lvl="0" indent="0" algn="l" defTabSz="914400" eaLnBrk="1" fontAlgn="auto" latinLnBrk="0" hangingPunct="1">
              <a:lnSpc>
                <a:spcPct val="90000"/>
              </a:lnSpc>
              <a:spcBef>
                <a:spcPts val="0"/>
              </a:spcBef>
              <a:spcAft>
                <a:spcPts val="0"/>
              </a:spcAft>
              <a:buClrTx/>
              <a:buSzTx/>
              <a:buFontTx/>
              <a:buNone/>
              <a:tabLst/>
              <a:defRPr/>
            </a:pPr>
            <a:r>
              <a:rPr lang="en-US" dirty="0"/>
              <a:t>-It helps the organization remain attractive to employees and job candidates</a:t>
            </a:r>
          </a:p>
          <a:p>
            <a:pPr>
              <a:spcAft>
                <a:spcPts val="0"/>
              </a:spcAft>
              <a:buClr>
                <a:schemeClr val="dk1"/>
              </a:buClr>
            </a:pPr>
            <a:r>
              <a:rPr lang="en-US" dirty="0"/>
              <a:t>-It defines role-based skills and competencies and their evolution to target learning </a:t>
            </a:r>
          </a:p>
          <a:p>
            <a:pPr marL="0" marR="0" lvl="0" indent="0" algn="l" defTabSz="914400" eaLnBrk="1" fontAlgn="auto" latinLnBrk="0" hangingPunct="1">
              <a:lnSpc>
                <a:spcPct val="90000"/>
              </a:lnSpc>
              <a:spcBef>
                <a:spcPts val="618"/>
              </a:spcBef>
              <a:spcAft>
                <a:spcPts val="0"/>
              </a:spcAft>
              <a:buClr>
                <a:schemeClr val="dk1"/>
              </a:buClr>
              <a:buSzTx/>
              <a:buFontTx/>
              <a:buNone/>
              <a:tabLst/>
              <a:defRPr/>
            </a:pPr>
            <a:r>
              <a:rPr lang="en-US" dirty="0"/>
              <a:t>-It communicates jobs responsibilities to set clear performance expectations.</a:t>
            </a:r>
            <a:endParaRPr lang="en-US" sz="1000" dirty="0"/>
          </a:p>
          <a:p>
            <a:pPr marL="0" marR="0" lvl="0" indent="0" algn="l" defTabSz="914400" eaLnBrk="1" fontAlgn="auto" latinLnBrk="0" hangingPunct="1">
              <a:lnSpc>
                <a:spcPct val="90000"/>
              </a:lnSpc>
              <a:spcBef>
                <a:spcPts val="618"/>
              </a:spcBef>
              <a:spcAft>
                <a:spcPts val="0"/>
              </a:spcAft>
              <a:buClr>
                <a:schemeClr val="dk1"/>
              </a:buClr>
              <a:buSzTx/>
              <a:buFontTx/>
              <a:buNone/>
              <a:tabLst/>
              <a:defRPr/>
            </a:pPr>
            <a:r>
              <a:rPr lang="en-US" dirty="0"/>
              <a:t>-An effective Job Architecture should facilitate market comparisons to ensure competitive reward practices.</a:t>
            </a:r>
          </a:p>
        </p:txBody>
      </p:sp>
    </p:spTree>
    <p:extLst>
      <p:ext uri="{BB962C8B-B14F-4D97-AF65-F5344CB8AC3E}">
        <p14:creationId xmlns:p14="http://schemas.microsoft.com/office/powerpoint/2010/main" val="62244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pPr marL="0" marR="0" lvl="0" indent="0" algn="l" defTabSz="914400" eaLnBrk="1" fontAlgn="auto" latinLnBrk="0" hangingPunct="1">
              <a:lnSpc>
                <a:spcPct val="90000"/>
              </a:lnSpc>
              <a:spcBef>
                <a:spcPts val="0"/>
              </a:spcBef>
              <a:spcAft>
                <a:spcPts val="600"/>
              </a:spcAft>
              <a:buClrTx/>
              <a:buSzTx/>
              <a:buFont typeface="Arial" panose="020B0604020202020204" pitchFamily="34" charset="0"/>
              <a:buNone/>
              <a:tabLst/>
              <a:defRPr/>
            </a:pPr>
            <a:r>
              <a:rPr lang="en-US" dirty="0"/>
              <a:t>Here are the five key outcomes/benefits that organizations are looking for in the design and implementation of an IT Job Architecture. </a:t>
            </a:r>
          </a:p>
          <a:p>
            <a:endParaRPr lang="en-US" dirty="0"/>
          </a:p>
        </p:txBody>
      </p:sp>
    </p:spTree>
    <p:extLst>
      <p:ext uri="{BB962C8B-B14F-4D97-AF65-F5344CB8AC3E}">
        <p14:creationId xmlns:p14="http://schemas.microsoft.com/office/powerpoint/2010/main" val="36122196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r>
              <a:rPr lang="en-US" dirty="0"/>
              <a:t>Through Gartner research on IT job designs and consulting experience Gartner has developed a three-layer IT job architecture framework</a:t>
            </a:r>
          </a:p>
          <a:p>
            <a:pPr marL="0" marR="0" lvl="0" indent="0" algn="l" defTabSz="914400" eaLnBrk="1" fontAlgn="auto" latinLnBrk="0" hangingPunct="1">
              <a:lnSpc>
                <a:spcPct val="100000"/>
              </a:lnSpc>
              <a:spcBef>
                <a:spcPts val="0"/>
              </a:spcBef>
              <a:spcAft>
                <a:spcPts val="0"/>
              </a:spcAft>
              <a:buClrTx/>
              <a:buSzTx/>
              <a:buFontTx/>
              <a:buNone/>
              <a:tabLst/>
              <a:defRPr/>
            </a:pPr>
            <a:r>
              <a:rPr lang="en-US" dirty="0"/>
              <a:t>Job Families broadly classify jobs that share common characteristics and competencies. Most IT organizations have 10 or fewer job families</a:t>
            </a:r>
            <a:endParaRPr lang="en-US" sz="1400" dirty="0"/>
          </a:p>
          <a:p>
            <a:pPr>
              <a:lnSpc>
                <a:spcPct val="100000"/>
              </a:lnSpc>
              <a:spcAft>
                <a:spcPts val="0"/>
              </a:spcAft>
            </a:pPr>
            <a:r>
              <a:rPr lang="en-US" dirty="0"/>
              <a:t>A Job Family typically includes multiple related job series. </a:t>
            </a:r>
          </a:p>
          <a:p>
            <a:pPr marL="0" marR="0" lvl="0" indent="0" algn="l" defTabSz="914400" eaLnBrk="1" fontAlgn="auto" latinLnBrk="0" hangingPunct="1">
              <a:lnSpc>
                <a:spcPct val="100000"/>
              </a:lnSpc>
              <a:spcBef>
                <a:spcPts val="0"/>
              </a:spcBef>
              <a:spcAft>
                <a:spcPts val="0"/>
              </a:spcAft>
              <a:buClrTx/>
              <a:buSzTx/>
              <a:buFontTx/>
              <a:buNone/>
              <a:tabLst/>
              <a:defRPr/>
            </a:pPr>
            <a:r>
              <a:rPr lang="en-US" dirty="0"/>
              <a:t>A Job Series is a progression of related jobs.  For example, in Architecture, there are series for enterprise, solution and domain.  </a:t>
            </a:r>
          </a:p>
          <a:p>
            <a:pPr marL="0" marR="0" lvl="0" indent="0" algn="l" defTabSz="914400" eaLnBrk="1" fontAlgn="auto" latinLnBrk="0" hangingPunct="1">
              <a:lnSpc>
                <a:spcPct val="100000"/>
              </a:lnSpc>
              <a:spcBef>
                <a:spcPts val="0"/>
              </a:spcBef>
              <a:spcAft>
                <a:spcPts val="0"/>
              </a:spcAft>
              <a:buClrTx/>
              <a:buSzTx/>
              <a:buFontTx/>
              <a:buNone/>
              <a:tabLst/>
              <a:defRPr/>
            </a:pPr>
            <a:r>
              <a:rPr lang="en-US" sz="1400" dirty="0"/>
              <a:t>Job Descriptions define specific jobs within a series, detailing responsibilities, duties, knowledge, skills and competencies requirements by career levels.</a:t>
            </a:r>
          </a:p>
        </p:txBody>
      </p:sp>
    </p:spTree>
    <p:extLst>
      <p:ext uri="{BB962C8B-B14F-4D97-AF65-F5344CB8AC3E}">
        <p14:creationId xmlns:p14="http://schemas.microsoft.com/office/powerpoint/2010/main" val="23326355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Here is the Gartner’s IT Job Architecture Baseline Framework.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Job Families and Job Series are relative stable over time, but individual Job Descriptions may be added, modified or removed</a:t>
            </a:r>
          </a:p>
          <a:p>
            <a:pPr marL="171450" marR="0" lvl="0" indent="-171450" algn="l"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Jobs are dependent on the needs of the organization. </a:t>
            </a:r>
            <a:endParaRPr lang="en-US" dirty="0"/>
          </a:p>
          <a:p>
            <a:pPr marL="171450" indent="-171450">
              <a:buFont typeface="Arial" panose="020B0604020202020204" pitchFamily="34" charset="0"/>
              <a:buChar char="•"/>
            </a:pPr>
            <a:r>
              <a:rPr lang="en-US" sz="1200" kern="1200" dirty="0">
                <a:solidFill>
                  <a:schemeClr val="tx1"/>
                </a:solidFill>
                <a:effectLst/>
                <a:latin typeface="+mn-lt"/>
                <a:ea typeface="+mn-ea"/>
                <a:cs typeface="+mn-cs"/>
              </a:rPr>
              <a:t>Some Job Series can be broken out further into sub-series dependent on the needs of your organization. For example, in Architecture job family, instead of having a “Domain” series, some organizations break it out into independent Job Series to include applications, cloud, information, network, security, and/or IoT.</a:t>
            </a:r>
          </a:p>
        </p:txBody>
      </p:sp>
      <p:sp>
        <p:nvSpPr>
          <p:cNvPr id="5" name="Slide Image Placeholder 4">
            <a:extLst>
              <a:ext uri="{FF2B5EF4-FFF2-40B4-BE49-F238E27FC236}">
                <a16:creationId xmlns:a16="http://schemas.microsoft.com/office/drawing/2014/main" xmlns="" id="{4D9BDD14-0F11-43B1-BECE-31AC6569B26A}"/>
              </a:ext>
            </a:extLst>
          </p:cNvPr>
          <p:cNvSpPr>
            <a:spLocks noGrp="1" noRot="1" noChangeAspect="1"/>
          </p:cNvSpPr>
          <p:nvPr>
            <p:ph type="sldImg"/>
          </p:nvPr>
        </p:nvSpPr>
        <p:spPr>
          <a:xfrm>
            <a:off x="1090613" y="731838"/>
            <a:ext cx="4921250" cy="2768600"/>
          </a:xfrm>
        </p:spPr>
      </p:sp>
    </p:spTree>
    <p:extLst>
      <p:ext uri="{BB962C8B-B14F-4D97-AF65-F5344CB8AC3E}">
        <p14:creationId xmlns:p14="http://schemas.microsoft.com/office/powerpoint/2010/main" val="8308871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876862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pPr marL="0" marR="0" lvl="0" indent="0" algn="l" defTabSz="914400" eaLnBrk="1" fontAlgn="auto" latinLnBrk="0" hangingPunct="1">
              <a:lnSpc>
                <a:spcPct val="90000"/>
              </a:lnSpc>
              <a:spcBef>
                <a:spcPts val="0"/>
              </a:spcBef>
              <a:spcAft>
                <a:spcPts val="600"/>
              </a:spcAft>
              <a:buClrTx/>
              <a:buSzTx/>
              <a:buFontTx/>
              <a:buNone/>
              <a:tabLst/>
              <a:defRPr/>
            </a:pPr>
            <a:r>
              <a:rPr lang="en-US" dirty="0"/>
              <a:t>Job architecture also provides an organizing framework for mapping jobs and career ladders to compensation structure to support equitable and competitive pay practices. </a:t>
            </a:r>
          </a:p>
          <a:p>
            <a:pPr marL="0" marR="0" lvl="0" indent="0" algn="l" defTabSz="914400" eaLnBrk="1" fontAlgn="auto" latinLnBrk="0" hangingPunct="1">
              <a:lnSpc>
                <a:spcPct val="90000"/>
              </a:lnSpc>
              <a:spcBef>
                <a:spcPts val="0"/>
              </a:spcBef>
              <a:spcAft>
                <a:spcPts val="600"/>
              </a:spcAft>
              <a:buClrTx/>
              <a:buSzTx/>
              <a:buFontTx/>
              <a:buNone/>
              <a:tabLst/>
              <a:defRPr/>
            </a:pPr>
            <a:r>
              <a:rPr lang="en-US" dirty="0"/>
              <a:t>Each Job Series defines career level progression from junior to senior level jobs. However, career levels </a:t>
            </a:r>
            <a:r>
              <a:rPr lang="en-US" u="sng" dirty="0"/>
              <a:t>Do Not directly </a:t>
            </a:r>
            <a:r>
              <a:rPr lang="en-US" dirty="0"/>
              <a:t>equate to pay grades/levels. The mapping of a Job at a specific career level to the grade/band level in the compensation structure should be based on a combination of factors: 1) how is a job valued internally against other jobs within and across different job series/families, based on not only the complexity of tasks and the scope of responsibilities but more importantly its impact on organizational performance and value contribution and 2) how is a job valued externally compared to equivalent jobs in the market, based on a mix of skills, knowledge/expertise and experience required to perform the job (level) competently.</a:t>
            </a:r>
          </a:p>
        </p:txBody>
      </p:sp>
    </p:spTree>
    <p:extLst>
      <p:ext uri="{BB962C8B-B14F-4D97-AF65-F5344CB8AC3E}">
        <p14:creationId xmlns:p14="http://schemas.microsoft.com/office/powerpoint/2010/main" val="36808905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jp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2.vml"/><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3.vml"/><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17.vml"/><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18.vml"/><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19.vml"/><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0.vml"/><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1.vml"/><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2.vml"/><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3.vml"/><Relationship Id="rId5" Type="http://schemas.openxmlformats.org/officeDocument/2006/relationships/image" Target="../media/image3.emf"/><Relationship Id="rId4" Type="http://schemas.openxmlformats.org/officeDocument/2006/relationships/oleObject" Target="../embeddings/oleObject2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4.vml"/><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25.vml"/><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29.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0.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1.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32.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33.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34.vml"/><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vmlDrawing" Target="../drawings/vmlDrawing35.vml"/><Relationship Id="rId5" Type="http://schemas.openxmlformats.org/officeDocument/2006/relationships/image" Target="../media/image3.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vmlDrawing" Target="../drawings/vmlDrawing36.vml"/><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37.vml"/><Relationship Id="rId5" Type="http://schemas.openxmlformats.org/officeDocument/2006/relationships/image" Target="../media/image3.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38.vml"/><Relationship Id="rId5" Type="http://schemas.openxmlformats.org/officeDocument/2006/relationships/image" Target="../media/image3.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vmlDrawing" Target="../drawings/vmlDrawing40.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vmlDrawing" Target="../drawings/vmlDrawing41.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1.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vmlDrawing" Target="../drawings/vmlDrawing42.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43.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44.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45.vml"/><Relationship Id="rId5" Type="http://schemas.openxmlformats.org/officeDocument/2006/relationships/image" Target="../media/image3.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46.vml"/><Relationship Id="rId5" Type="http://schemas.openxmlformats.org/officeDocument/2006/relationships/image" Target="../media/image3.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47.vml"/><Relationship Id="rId5" Type="http://schemas.openxmlformats.org/officeDocument/2006/relationships/image" Target="../media/image3.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vmlDrawing" Target="../drawings/vmlDrawing48.vml"/><Relationship Id="rId5" Type="http://schemas.openxmlformats.org/officeDocument/2006/relationships/image" Target="../media/image3.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vmlDrawing" Target="../drawings/vmlDrawing49.vml"/><Relationship Id="rId5" Type="http://schemas.openxmlformats.org/officeDocument/2006/relationships/image" Target="../media/image3.emf"/><Relationship Id="rId4" Type="http://schemas.openxmlformats.org/officeDocument/2006/relationships/oleObject" Target="../embeddings/oleObject49.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3.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0302AEB8-447D-4F1B-AF56-7D413E7A319F}"/>
              </a:ext>
            </a:extLst>
          </p:cNvPr>
          <p:cNvGraphicFramePr>
            <a:graphicFrameLocks noChangeAspect="1"/>
          </p:cNvGraphicFramePr>
          <p:nvPr userDrawn="1">
            <p:custDataLst>
              <p:tags r:id="rId2"/>
            </p:custDataLst>
            <p:extLst>
              <p:ext uri="{D42A27DB-BD31-4B8C-83A1-F6EECF244321}">
                <p14:modId xmlns:p14="http://schemas.microsoft.com/office/powerpoint/2010/main" val="2087028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xmlns="" id="{0302AEB8-447D-4F1B-AF56-7D413E7A31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xmlns="" id="{8865185B-BD51-44E4-8F27-009BB6C3F462}"/>
              </a:ext>
            </a:extLst>
          </p:cNvPr>
          <p:cNvPicPr>
            <a:picLocks noChangeAspect="1"/>
          </p:cNvPicPr>
          <p:nvPr userDrawn="1"/>
        </p:nvPicPr>
        <p:blipFill rotWithShape="1">
          <a:blip r:embed="rId6"/>
          <a:srcRect l="-1" r="-18471"/>
          <a:stretch/>
        </p:blipFill>
        <p:spPr bwMode="gray">
          <a:xfrm flipH="1">
            <a:off x="0" y="0"/>
            <a:ext cx="12192000" cy="6858000"/>
          </a:xfrm>
          <a:prstGeom prst="rect">
            <a:avLst/>
          </a:prstGeom>
        </p:spPr>
      </p:pic>
      <p:sp>
        <p:nvSpPr>
          <p:cNvPr id="9" name="Rectangle 8">
            <a:extLst>
              <a:ext uri="{FF2B5EF4-FFF2-40B4-BE49-F238E27FC236}">
                <a16:creationId xmlns:a16="http://schemas.microsoft.com/office/drawing/2014/main" xmlns="" id="{75B1F4BC-C30F-4915-B944-6CD9D7DAD028}"/>
              </a:ext>
            </a:extLst>
          </p:cNvPr>
          <p:cNvSpPr/>
          <p:nvPr userDrawn="1"/>
        </p:nvSpPr>
        <p:spPr bwMode="gray">
          <a:xfrm>
            <a:off x="0" y="253378"/>
            <a:ext cx="7366001" cy="6858000"/>
          </a:xfrm>
          <a:prstGeom prst="rect">
            <a:avLst/>
          </a:prstGeom>
          <a:gradFill flip="none" rotWithShape="1">
            <a:gsLst>
              <a:gs pos="0">
                <a:srgbClr val="142634">
                  <a:alpha val="0"/>
                </a:srgbClr>
              </a:gs>
              <a:gs pos="100000">
                <a:srgbClr val="142634"/>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endParaRPr>
          </a:p>
        </p:txBody>
      </p:sp>
      <p:sp>
        <p:nvSpPr>
          <p:cNvPr id="5" name="Text Placeholder 4"/>
          <p:cNvSpPr>
            <a:spLocks noGrp="1"/>
          </p:cNvSpPr>
          <p:nvPr>
            <p:ph type="body" sz="quarter" idx="10" hasCustomPrompt="1"/>
          </p:nvPr>
        </p:nvSpPr>
        <p:spPr bwMode="gray">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2" name="Title 1"/>
          <p:cNvSpPr>
            <a:spLocks noGrp="1"/>
          </p:cNvSpPr>
          <p:nvPr>
            <p:ph type="ctrTitle"/>
          </p:nvPr>
        </p:nvSpPr>
        <p:spPr bwMode="gray">
          <a:xfrm>
            <a:off x="2166861" y="1687986"/>
            <a:ext cx="4545024" cy="1994392"/>
          </a:xfrm>
        </p:spPr>
        <p:txBody>
          <a:bodyPr vert="horz" wrap="square" anchor="ctr" anchorCtr="0">
            <a:noAutofit/>
          </a:bodyPr>
          <a:lstStyle>
            <a:lvl1pPr algn="l" rtl="0">
              <a:defRPr sz="3600"/>
            </a:lvl1pPr>
          </a:lstStyle>
          <a:p>
            <a:r>
              <a:rPr lang="en-US" dirty="0"/>
              <a:t>Click to edit Master title style</a:t>
            </a:r>
          </a:p>
        </p:txBody>
      </p:sp>
      <p:sp>
        <p:nvSpPr>
          <p:cNvPr id="11" name="Focus Frame 2"/>
          <p:cNvSpPr>
            <a:spLocks noChangeAspect="1"/>
          </p:cNvSpPr>
          <p:nvPr userDrawn="1"/>
        </p:nvSpPr>
        <p:spPr bwMode="gray">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gray">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extBox 7"/>
          <p:cNvSpPr txBox="1"/>
          <p:nvPr userDrawn="1"/>
        </p:nvSpPr>
        <p:spPr bwMode="gray">
          <a:xfrm>
            <a:off x="458150" y="5888504"/>
            <a:ext cx="7048908" cy="969496"/>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a:p>
            <a:pPr algn="l" rtl="0" eaLnBrk="0" hangingPunct="0">
              <a:lnSpc>
                <a:spcPct val="100000"/>
              </a:lnSpc>
              <a:spcBef>
                <a:spcPts val="0"/>
              </a:spcBef>
              <a:spcAft>
                <a:spcPts val="0"/>
              </a:spcAft>
              <a:defRPr/>
            </a:pPr>
            <a:endParaRPr lang="en-US" sz="700" b="0" i="0" u="none" strike="noStrike" kern="1200" dirty="0">
              <a:solidFill>
                <a:schemeClr val="tx1"/>
              </a:solidFill>
              <a:effectLst/>
              <a:latin typeface="Arial" charset="0"/>
              <a:ea typeface="Arial Unicode MS" pitchFamily="34" charset="-128"/>
              <a:cs typeface="Arial Unicode MS" pitchFamily="34" charset="-128"/>
            </a:endParaRPr>
          </a:p>
          <a:p>
            <a:pPr algn="l" rtl="0"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Unless otherwise marked for external use, the items in this Gartner Toolkit are for internal noncommercial use by the licensed Gartner client. The materials contained in this Toolkit may not be repackaged or resold. Gartner makes no representations or warranties as to the suitability of this Toolkit for any particular purpose, and disclaims all liabilities for any damages, whether direct, consequential, incidental or special, arising out of the use of or inability to use this material or the information provided herein.</a:t>
            </a:r>
          </a:p>
          <a:p>
            <a:pPr algn="l" rtl="0" eaLnBrk="0" hangingPunct="0">
              <a:lnSpc>
                <a:spcPct val="100000"/>
              </a:lnSpc>
              <a:spcBef>
                <a:spcPts val="0"/>
              </a:spcBef>
              <a:spcAft>
                <a:spcPts val="0"/>
              </a:spcAft>
              <a:defRPr/>
            </a:pPr>
            <a:endParaRPr lang="en-US" sz="700" b="0" i="0" u="none" strike="noStrike" kern="1200" dirty="0">
              <a:solidFill>
                <a:schemeClr val="tx1"/>
              </a:solidFill>
              <a:effectLst/>
              <a:latin typeface="Arial" charset="0"/>
              <a:ea typeface="Arial Unicode MS" pitchFamily="34" charset="-128"/>
              <a:cs typeface="Arial Unicode MS" pitchFamily="34" charset="-128"/>
            </a:endParaRPr>
          </a:p>
          <a:p>
            <a:pPr algn="l" rtl="0" eaLnBrk="0" hangingPunct="0">
              <a:lnSpc>
                <a:spcPct val="100000"/>
              </a:lnSpc>
              <a:spcBef>
                <a:spcPts val="0"/>
              </a:spcBef>
              <a:spcAft>
                <a:spcPts val="0"/>
              </a:spcAft>
              <a:defRPr/>
            </a:pPr>
            <a:endParaRPr lang="en-US" sz="700" dirty="0">
              <a:solidFill>
                <a:schemeClr val="tx1"/>
              </a:solidFill>
              <a:ea typeface="Arial Unicode MS" pitchFamily="34" charset="-128"/>
              <a:cs typeface="Arial Unicode MS" pitchFamily="34" charset="-128"/>
            </a:endParaRPr>
          </a:p>
        </p:txBody>
      </p:sp>
      <p:pic>
        <p:nvPicPr>
          <p:cNvPr id="10" name="Picture 9">
            <a:extLst>
              <a:ext uri="{FF2B5EF4-FFF2-40B4-BE49-F238E27FC236}">
                <a16:creationId xmlns:a16="http://schemas.microsoft.com/office/drawing/2014/main" xmlns="" id="{4B4702A2-2CE0-4972-B913-F303E9FFA4D4}"/>
              </a:ext>
            </a:extLst>
          </p:cNvPr>
          <p:cNvPicPr>
            <a:picLocks noChangeAspect="1"/>
          </p:cNvPicPr>
          <p:nvPr userDrawn="1"/>
        </p:nvPicPr>
        <p:blipFill>
          <a:blip r:embed="rId7"/>
          <a:stretch>
            <a:fillRect/>
          </a:stretch>
        </p:blipFill>
        <p:spPr bwMode="gray">
          <a:xfrm>
            <a:off x="9692640" y="6053328"/>
            <a:ext cx="2041210" cy="466344"/>
          </a:xfrm>
          <a:prstGeom prst="rect">
            <a:avLst/>
          </a:prstGeom>
        </p:spPr>
      </p:pic>
    </p:spTree>
    <p:extLst>
      <p:ext uri="{BB962C8B-B14F-4D97-AF65-F5344CB8AC3E}">
        <p14:creationId xmlns:p14="http://schemas.microsoft.com/office/powerpoint/2010/main" val="807758296"/>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D11ACEA3-9C7F-408E-862F-E0733D33E025}"/>
              </a:ext>
            </a:extLst>
          </p:cNvPr>
          <p:cNvGraphicFramePr>
            <a:graphicFrameLocks noChangeAspect="1"/>
          </p:cNvGraphicFramePr>
          <p:nvPr userDrawn="1">
            <p:custDataLst>
              <p:tags r:id="rId2"/>
            </p:custDataLst>
            <p:extLst>
              <p:ext uri="{D42A27DB-BD31-4B8C-83A1-F6EECF244321}">
                <p14:modId xmlns:p14="http://schemas.microsoft.com/office/powerpoint/2010/main" val="388579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8"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D11ACEA3-9C7F-408E-862F-E0733D33E0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11"/>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vert="horz"/>
          <a:lstStyle>
            <a:lvl1pPr rtl="0">
              <a:defRPr/>
            </a:lvl1pPr>
          </a:lstStyle>
          <a:p>
            <a:r>
              <a:rPr lang="en-US" dirty="0"/>
              <a:t>Click to edit Master title style</a:t>
            </a:r>
          </a:p>
        </p:txBody>
      </p:sp>
    </p:spTree>
    <p:extLst>
      <p:ext uri="{BB962C8B-B14F-4D97-AF65-F5344CB8AC3E}">
        <p14:creationId xmlns:p14="http://schemas.microsoft.com/office/powerpoint/2010/main" val="2657105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6E349AFE-2DC0-4E7F-8688-AB776F353410}"/>
              </a:ext>
            </a:extLst>
          </p:cNvPr>
          <p:cNvGraphicFramePr>
            <a:graphicFrameLocks noChangeAspect="1"/>
          </p:cNvGraphicFramePr>
          <p:nvPr userDrawn="1">
            <p:custDataLst>
              <p:tags r:id="rId2"/>
            </p:custDataLst>
            <p:extLst>
              <p:ext uri="{D42A27DB-BD31-4B8C-83A1-F6EECF244321}">
                <p14:modId xmlns:p14="http://schemas.microsoft.com/office/powerpoint/2010/main" val="2349418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2"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6E349AFE-2DC0-4E7F-8688-AB776F3534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dirty="0"/>
              <a:t>Click to edit Master title style</a:t>
            </a:r>
          </a:p>
        </p:txBody>
      </p:sp>
      <p:sp>
        <p:nvSpPr>
          <p:cNvPr id="16" name="Text Placeholder 11"/>
          <p:cNvSpPr>
            <a:spLocks noGrp="1"/>
          </p:cNvSpPr>
          <p:nvPr>
            <p:ph type="body" sz="quarter" idx="18" hasCustomPrompt="1"/>
          </p:nvPr>
        </p:nvSpPr>
        <p:spPr>
          <a:xfrm>
            <a:off x="457200" y="1343025"/>
            <a:ext cx="2563495" cy="4645025"/>
          </a:xfrm>
          <a:prstGeom prst="rect">
            <a:avLst/>
          </a:prstGeom>
          <a:solidFill>
            <a:srgbClr val="F4F4F4"/>
          </a:solidFill>
        </p:spPr>
        <p:txBody>
          <a:bodyPr lIns="182880" tIns="182880" rIns="91440" bIns="182880">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19" hasCustomPrompt="1"/>
          </p:nvPr>
        </p:nvSpPr>
        <p:spPr>
          <a:xfrm>
            <a:off x="3363487" y="1343025"/>
            <a:ext cx="2563495" cy="4645025"/>
          </a:xfrm>
          <a:prstGeom prst="rect">
            <a:avLst/>
          </a:prstGeom>
          <a:solidFill>
            <a:srgbClr val="F4F4F4"/>
          </a:solidFill>
        </p:spPr>
        <p:txBody>
          <a:bodyPr lIns="182880" tIns="182880" rIns="91440" bIns="182880">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1"/>
          <p:cNvSpPr>
            <a:spLocks noGrp="1"/>
          </p:cNvSpPr>
          <p:nvPr>
            <p:ph type="body" sz="quarter" idx="20" hasCustomPrompt="1"/>
          </p:nvPr>
        </p:nvSpPr>
        <p:spPr>
          <a:xfrm>
            <a:off x="6266602" y="1343025"/>
            <a:ext cx="2563495" cy="4645025"/>
          </a:xfrm>
          <a:prstGeom prst="rect">
            <a:avLst/>
          </a:prstGeom>
          <a:solidFill>
            <a:srgbClr val="F4F4F4"/>
          </a:solidFill>
        </p:spPr>
        <p:txBody>
          <a:bodyPr lIns="182880" tIns="182880" rIns="91440" bIns="182880">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21" hasCustomPrompt="1"/>
          </p:nvPr>
        </p:nvSpPr>
        <p:spPr>
          <a:xfrm>
            <a:off x="9166542" y="1343025"/>
            <a:ext cx="2563495" cy="4645025"/>
          </a:xfrm>
          <a:prstGeom prst="rect">
            <a:avLst/>
          </a:prstGeom>
          <a:solidFill>
            <a:srgbClr val="F4F4F4"/>
          </a:solidFill>
        </p:spPr>
        <p:txBody>
          <a:bodyPr lIns="182880" tIns="182880" rIns="91440" bIns="182880">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147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EC0FC04E-BAB1-40CD-BA43-E4F0BC01D6ED}"/>
              </a:ext>
            </a:extLst>
          </p:cNvPr>
          <p:cNvGraphicFramePr>
            <a:graphicFrameLocks noChangeAspect="1"/>
          </p:cNvGraphicFramePr>
          <p:nvPr userDrawn="1">
            <p:custDataLst>
              <p:tags r:id="rId2"/>
            </p:custDataLst>
            <p:extLst>
              <p:ext uri="{D42A27DB-BD31-4B8C-83A1-F6EECF244321}">
                <p14:modId xmlns:p14="http://schemas.microsoft.com/office/powerpoint/2010/main" val="4212958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xmlns="" id="{EC0FC04E-BAB1-40CD-BA43-E4F0BC01D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xmlns="" id="{3273EB3B-0AE2-7A48-BF35-D1CF1DB27874}"/>
              </a:ext>
            </a:extLst>
          </p:cNvPr>
          <p:cNvSpPr/>
          <p:nvPr userDrawn="1"/>
        </p:nvSpPr>
        <p:spPr bwMode="blackWhite">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itle 5">
            <a:extLst>
              <a:ext uri="{FF2B5EF4-FFF2-40B4-BE49-F238E27FC236}">
                <a16:creationId xmlns:a16="http://schemas.microsoft.com/office/drawing/2014/main" xmlns=""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rgbClr val="002856"/>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dirty="0"/>
              <a:t>Click to edit Master title style</a:t>
            </a:r>
          </a:p>
        </p:txBody>
      </p:sp>
      <p:sp>
        <p:nvSpPr>
          <p:cNvPr id="14" name="Rectangle 13">
            <a:extLst>
              <a:ext uri="{FF2B5EF4-FFF2-40B4-BE49-F238E27FC236}">
                <a16:creationId xmlns:a16="http://schemas.microsoft.com/office/drawing/2014/main" xmlns="" id="{D3C73678-BC25-BB4A-A678-83DD136C7174}"/>
              </a:ext>
            </a:extLst>
          </p:cNvPr>
          <p:cNvSpPr/>
          <p:nvPr userDrawn="1"/>
        </p:nvSpPr>
        <p:spPr bwMode="blackWhite">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2954261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5FC645AC-7D5D-4D91-A878-7FF8EA57B4AB}"/>
              </a:ext>
            </a:extLst>
          </p:cNvPr>
          <p:cNvGraphicFramePr>
            <a:graphicFrameLocks noChangeAspect="1"/>
          </p:cNvGraphicFramePr>
          <p:nvPr userDrawn="1">
            <p:custDataLst>
              <p:tags r:id="rId2"/>
            </p:custDataLst>
            <p:extLst>
              <p:ext uri="{D42A27DB-BD31-4B8C-83A1-F6EECF244321}">
                <p14:modId xmlns:p14="http://schemas.microsoft.com/office/powerpoint/2010/main" val="2939110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xmlns="" id="{5FC645AC-7D5D-4D91-A878-7FF8EA57B4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xmlns="" id="{F8367EBE-ACE4-6A4A-8194-81828A72B691}"/>
              </a:ext>
            </a:extLst>
          </p:cNvPr>
          <p:cNvSpPr/>
          <p:nvPr userDrawn="1"/>
        </p:nvSpPr>
        <p:spPr bwMode="blackWhite">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blackWhite">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dirty="0"/>
              <a:t>Click to edit Master title style</a:t>
            </a:r>
          </a:p>
        </p:txBody>
      </p:sp>
    </p:spTree>
    <p:extLst>
      <p:ext uri="{BB962C8B-B14F-4D97-AF65-F5344CB8AC3E}">
        <p14:creationId xmlns:p14="http://schemas.microsoft.com/office/powerpoint/2010/main" val="18887479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CA50338C-ADCB-4069-BB62-E3B0688D068A}"/>
              </a:ext>
            </a:extLst>
          </p:cNvPr>
          <p:cNvGraphicFramePr>
            <a:graphicFrameLocks noChangeAspect="1"/>
          </p:cNvGraphicFramePr>
          <p:nvPr userDrawn="1">
            <p:custDataLst>
              <p:tags r:id="rId2"/>
            </p:custDataLst>
            <p:extLst>
              <p:ext uri="{D42A27DB-BD31-4B8C-83A1-F6EECF244321}">
                <p14:modId xmlns:p14="http://schemas.microsoft.com/office/powerpoint/2010/main" val="2734899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4"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xmlns="" id="{CA50338C-ADCB-4069-BB62-E3B0688D06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5CE22114-9047-40C5-9D05-AF35D7B7B087}"/>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xmlns="" id="{AA010A63-A320-4171-A7B4-06A2D3C91471}"/>
              </a:ext>
            </a:extLst>
          </p:cNvPr>
          <p:cNvSpPr>
            <a:spLocks noGrp="1"/>
          </p:cNvSpPr>
          <p:nvPr>
            <p:ph type="title" hasCustomPrompt="1"/>
          </p:nvPr>
        </p:nvSpPr>
        <p:spPr>
          <a:xfrm>
            <a:off x="457199" y="1009268"/>
            <a:ext cx="8366761" cy="4476115"/>
          </a:xfrm>
        </p:spPr>
        <p:txBody>
          <a:bodyPr vert="horz" anchor="ctr" anchorCtr="0"/>
          <a:lstStyle>
            <a:lvl1pPr marL="182880" indent="-457200" rtl="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9" name="Text Placeholder 2">
            <a:extLst>
              <a:ext uri="{FF2B5EF4-FFF2-40B4-BE49-F238E27FC236}">
                <a16:creationId xmlns:a16="http://schemas.microsoft.com/office/drawing/2014/main" xmlns="" id="{46E05064-B5DA-4441-B4C7-8D9385881BD3}"/>
              </a:ext>
            </a:extLst>
          </p:cNvPr>
          <p:cNvSpPr>
            <a:spLocks noGrp="1"/>
          </p:cNvSpPr>
          <p:nvPr>
            <p:ph type="body" idx="1" hasCustomPrompt="1"/>
          </p:nvPr>
        </p:nvSpPr>
        <p:spPr>
          <a:xfrm>
            <a:off x="457199" y="5485384"/>
            <a:ext cx="8366761" cy="347472"/>
          </a:xfrm>
        </p:spPr>
        <p:txBody>
          <a:bodyPr/>
          <a:lstStyle>
            <a:lvl1pPr marL="0" indent="0" rtl="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41756802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6232DDF0-849C-4E14-AA79-D38FAF54F35E}"/>
              </a:ext>
            </a:extLst>
          </p:cNvPr>
          <p:cNvGraphicFramePr>
            <a:graphicFrameLocks noChangeAspect="1"/>
          </p:cNvGraphicFramePr>
          <p:nvPr userDrawn="1">
            <p:custDataLst>
              <p:tags r:id="rId2"/>
            </p:custDataLst>
            <p:extLst>
              <p:ext uri="{D42A27DB-BD31-4B8C-83A1-F6EECF244321}">
                <p14:modId xmlns:p14="http://schemas.microsoft.com/office/powerpoint/2010/main" val="2018468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8"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xmlns="" id="{6232DDF0-849C-4E14-AA79-D38FAF54F3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E2658A3-1872-4FC3-9D58-94F2094AD6FA}"/>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9" name="Picture Placeholder 9">
            <a:extLst>
              <a:ext uri="{FF2B5EF4-FFF2-40B4-BE49-F238E27FC236}">
                <a16:creationId xmlns:a16="http://schemas.microsoft.com/office/drawing/2014/main" xmlns="" id="{3124B76B-735A-4421-821F-1A558D45EBCC}"/>
              </a:ext>
            </a:extLst>
          </p:cNvPr>
          <p:cNvSpPr>
            <a:spLocks noGrp="1"/>
          </p:cNvSpPr>
          <p:nvPr>
            <p:ph type="pic" sz="quarter" idx="10"/>
          </p:nvPr>
        </p:nvSpPr>
        <p:spPr>
          <a:xfrm>
            <a:off x="7040880" y="1346199"/>
            <a:ext cx="4690872" cy="4297680"/>
          </a:xfrm>
        </p:spPr>
        <p:txBody>
          <a:bodyPr/>
          <a:lstStyle>
            <a:lvl1pPr marL="0" indent="0" rtl="0">
              <a:buNone/>
              <a:defRPr/>
            </a:lvl1pPr>
          </a:lstStyle>
          <a:p>
            <a:r>
              <a:rPr lang="en-US" dirty="0"/>
              <a:t>Click icon to add picture</a:t>
            </a:r>
          </a:p>
        </p:txBody>
      </p:sp>
      <p:sp>
        <p:nvSpPr>
          <p:cNvPr id="10" name="Title 1">
            <a:extLst>
              <a:ext uri="{FF2B5EF4-FFF2-40B4-BE49-F238E27FC236}">
                <a16:creationId xmlns:a16="http://schemas.microsoft.com/office/drawing/2014/main" xmlns="" id="{05E00C06-0F09-4055-9C4A-4D1F84AD80EE}"/>
              </a:ext>
            </a:extLst>
          </p:cNvPr>
          <p:cNvSpPr>
            <a:spLocks noGrp="1"/>
          </p:cNvSpPr>
          <p:nvPr>
            <p:ph type="title" hasCustomPrompt="1"/>
          </p:nvPr>
        </p:nvSpPr>
        <p:spPr>
          <a:xfrm>
            <a:off x="457199" y="1009268"/>
            <a:ext cx="6060141" cy="4476115"/>
          </a:xfrm>
        </p:spPr>
        <p:txBody>
          <a:bodyPr vert="horz" anchor="ctr" anchorCtr="0"/>
          <a:lstStyle>
            <a:lvl1pPr marL="182880" indent="-457200" rtl="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1" name="Text Placeholder 2">
            <a:extLst>
              <a:ext uri="{FF2B5EF4-FFF2-40B4-BE49-F238E27FC236}">
                <a16:creationId xmlns:a16="http://schemas.microsoft.com/office/drawing/2014/main" xmlns="" id="{980DDEA7-4BAF-48FA-882B-45D60DCBCF78}"/>
              </a:ext>
            </a:extLst>
          </p:cNvPr>
          <p:cNvSpPr>
            <a:spLocks noGrp="1"/>
          </p:cNvSpPr>
          <p:nvPr>
            <p:ph type="body" idx="1" hasCustomPrompt="1"/>
          </p:nvPr>
        </p:nvSpPr>
        <p:spPr>
          <a:xfrm>
            <a:off x="457199" y="5485384"/>
            <a:ext cx="6060141" cy="347472"/>
          </a:xfrm>
        </p:spPr>
        <p:txBody>
          <a:bodyPr/>
          <a:lstStyle>
            <a:lvl1pPr marL="0" indent="0" rtl="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14784756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8960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F6FC1359-D97D-46CE-9F6C-4D31151DF79D}"/>
              </a:ext>
            </a:extLst>
          </p:cNvPr>
          <p:cNvGraphicFramePr>
            <a:graphicFrameLocks noChangeAspect="1"/>
          </p:cNvGraphicFramePr>
          <p:nvPr userDrawn="1">
            <p:custDataLst>
              <p:tags r:id="rId2"/>
            </p:custDataLst>
            <p:extLst>
              <p:ext uri="{D42A27DB-BD31-4B8C-83A1-F6EECF244321}">
                <p14:modId xmlns:p14="http://schemas.microsoft.com/office/powerpoint/2010/main" val="4241036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xmlns="" id="{F6FC1359-D97D-46CE-9F6C-4D31151DF7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lvl1pPr rtl="0">
              <a:defRPr/>
            </a:lvl1pPr>
          </a:lstStyle>
          <a:p>
            <a:endParaRPr lang="en-US" dirty="0"/>
          </a:p>
        </p:txBody>
      </p:sp>
    </p:spTree>
    <p:extLst>
      <p:ext uri="{BB962C8B-B14F-4D97-AF65-F5344CB8AC3E}">
        <p14:creationId xmlns:p14="http://schemas.microsoft.com/office/powerpoint/2010/main" val="21155197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98A8A10B-2AD1-4A2F-A27B-C73CCF687010}"/>
              </a:ext>
            </a:extLst>
          </p:cNvPr>
          <p:cNvGraphicFramePr>
            <a:graphicFrameLocks noChangeAspect="1"/>
          </p:cNvGraphicFramePr>
          <p:nvPr userDrawn="1">
            <p:custDataLst>
              <p:tags r:id="rId2"/>
            </p:custDataLst>
            <p:extLst>
              <p:ext uri="{D42A27DB-BD31-4B8C-83A1-F6EECF244321}">
                <p14:modId xmlns:p14="http://schemas.microsoft.com/office/powerpoint/2010/main" val="3540798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xmlns="" id="{98A8A10B-2AD1-4A2F-A27B-C73CCF6870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lvl1pPr rtl="0">
              <a:defRPr/>
            </a:lvl1pPr>
          </a:lstStyle>
          <a:p>
            <a:endParaRPr lang="en-US" dirty="0"/>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indent="-228600" rtl="0">
              <a:buSzPct val="100000"/>
              <a:buFont typeface="Wingdings" panose="05000000000000000000" pitchFamily="2" charset="2"/>
              <a:buChar char="§"/>
              <a:defRPr/>
            </a:lvl1pPr>
            <a:lvl2pPr marL="461963" indent="-228600" rtl="0">
              <a:buSzPct val="100000"/>
              <a:buFont typeface="Arial" panose="020B0604020202020204" pitchFamily="34" charset="0"/>
              <a:buChar char="–"/>
              <a:defRPr/>
            </a:lvl2pPr>
            <a:lvl3pPr marL="682625" indent="-228600" rtl="0">
              <a:buSzPct val="100000"/>
              <a:buFont typeface="Wingdings" panose="05000000000000000000" pitchFamily="2" charset="2"/>
              <a:buChar char="§"/>
              <a:defRPr/>
            </a:lvl3pPr>
            <a:lvl4pPr marL="914400" indent="-228600" rtl="0">
              <a:buSzPct val="100000"/>
              <a:buFont typeface="Arial" panose="020B0604020202020204" pitchFamily="34" charset="0"/>
              <a:buChar char="–"/>
              <a:defRPr/>
            </a:lvl4pPr>
            <a:lvl5pPr marL="1146175" indent="-228600" rtl="0">
              <a:buSzPct val="100000"/>
              <a:buFont typeface="Wingdings" panose="05000000000000000000" pitchFamily="2" charset="2"/>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94659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17D0AEA-248B-4F03-8420-45DC98845901}"/>
              </a:ext>
            </a:extLst>
          </p:cNvPr>
          <p:cNvGraphicFramePr>
            <a:graphicFrameLocks noChangeAspect="1"/>
          </p:cNvGraphicFramePr>
          <p:nvPr userDrawn="1">
            <p:custDataLst>
              <p:tags r:id="rId2"/>
            </p:custDataLst>
            <p:extLst>
              <p:ext uri="{D42A27DB-BD31-4B8C-83A1-F6EECF244321}">
                <p14:modId xmlns:p14="http://schemas.microsoft.com/office/powerpoint/2010/main" val="144474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4"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117D0AEA-248B-4F03-8420-45DC988459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lvl1pPr rtl="0">
              <a:defRPr/>
            </a:lvl1pPr>
          </a:lstStyle>
          <a:p>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rtl="0">
              <a:buSzPct val="100000"/>
              <a:buFont typeface="Wingdings" panose="05000000000000000000" pitchFamily="2" charset="2"/>
              <a:buChar char="§"/>
              <a:defRPr sz="1600"/>
            </a:lvl1pPr>
            <a:lvl2pPr marL="461963" indent="-228600" rtl="0">
              <a:buSzPct val="100000"/>
              <a:buFont typeface="Arial" panose="020B0604020202020204" pitchFamily="34" charset="0"/>
              <a:buChar char="–"/>
              <a:defRPr sz="1600"/>
            </a:lvl2pPr>
            <a:lvl3pPr marL="682625" indent="-228600" rtl="0">
              <a:buSzPct val="100000"/>
              <a:buFont typeface="Wingdings" panose="05000000000000000000" pitchFamily="2" charset="2"/>
              <a:buChar char="§"/>
              <a:defRPr sz="1600"/>
            </a:lvl3pPr>
            <a:lvl4pPr marL="914400" indent="-228600" rtl="0">
              <a:buSzPct val="100000"/>
              <a:buFont typeface="Arial" panose="020B0604020202020204" pitchFamily="34" charset="0"/>
              <a:buChar char="–"/>
              <a:defRPr sz="1600"/>
            </a:lvl4pPr>
            <a:lvl5pPr marL="1146175" indent="-228600" rtl="0">
              <a:buSzPct val="100000"/>
              <a:buFont typeface="Wingdings" panose="05000000000000000000" pitchFamily="2" charset="2"/>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6990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57DAE72B-3D93-49BA-A979-936418FD41B4}"/>
              </a:ext>
            </a:extLst>
          </p:cNvPr>
          <p:cNvGraphicFramePr>
            <a:graphicFrameLocks noChangeAspect="1"/>
          </p:cNvGraphicFramePr>
          <p:nvPr userDrawn="1">
            <p:custDataLst>
              <p:tags r:id="rId2"/>
            </p:custDataLst>
            <p:extLst>
              <p:ext uri="{D42A27DB-BD31-4B8C-83A1-F6EECF244321}">
                <p14:modId xmlns:p14="http://schemas.microsoft.com/office/powerpoint/2010/main" val="335535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xmlns="" id="{57DAE72B-3D93-49BA-A979-936418FD41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2" name="Title 1"/>
          <p:cNvSpPr>
            <a:spLocks noGrp="1"/>
          </p:cNvSpPr>
          <p:nvPr>
            <p:ph type="ctrTitle"/>
          </p:nvPr>
        </p:nvSpPr>
        <p:spPr>
          <a:xfrm>
            <a:off x="2166861" y="1687986"/>
            <a:ext cx="4545024" cy="1994392"/>
          </a:xfrm>
        </p:spPr>
        <p:txBody>
          <a:bodyPr vert="horz" wrap="square" anchor="ctr" anchorCtr="0">
            <a:noAutofit/>
          </a:bodyPr>
          <a:lstStyle>
            <a:lvl1pPr algn="l" rtl="0">
              <a:defRPr sz="3600"/>
            </a:lvl1pPr>
          </a:lstStyle>
          <a:p>
            <a:r>
              <a:rPr lang="en-US" dirty="0"/>
              <a:t>Click to edit Master title style</a:t>
            </a:r>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xmlns="" id="{A98BD60A-AFB5-42D5-A4D8-98D73A74B25D}"/>
              </a:ext>
            </a:extLst>
          </p:cNvPr>
          <p:cNvPicPr>
            <a:picLocks noChangeAspect="1"/>
          </p:cNvPicPr>
          <p:nvPr userDrawn="1"/>
        </p:nvPicPr>
        <p:blipFill>
          <a:blip r:embed="rId6"/>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327179709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48509A78-FD2D-4588-B82F-43EE3172504C}"/>
              </a:ext>
            </a:extLst>
          </p:cNvPr>
          <p:cNvGraphicFramePr>
            <a:graphicFrameLocks noChangeAspect="1"/>
          </p:cNvGraphicFramePr>
          <p:nvPr userDrawn="1">
            <p:custDataLst>
              <p:tags r:id="rId2"/>
            </p:custDataLst>
            <p:extLst>
              <p:ext uri="{D42A27DB-BD31-4B8C-83A1-F6EECF244321}">
                <p14:modId xmlns:p14="http://schemas.microsoft.com/office/powerpoint/2010/main" val="2348028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8"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xmlns="" id="{48509A78-FD2D-4588-B82F-43EE317250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dirty="0"/>
              <a:t>to edit Master title style</a:t>
            </a:r>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rtl="0">
              <a:buSzPct val="100000"/>
              <a:buFont typeface="Wingdings" panose="05000000000000000000" pitchFamily="2" charset="2"/>
              <a:buChar char="§"/>
              <a:defRPr sz="1600"/>
            </a:lvl1pPr>
            <a:lvl2pPr marL="461963" indent="-228600" rtl="0">
              <a:buSzPct val="100000"/>
              <a:buFont typeface="Arial" panose="020B0604020202020204" pitchFamily="34" charset="0"/>
              <a:buChar char="–"/>
              <a:defRPr sz="1600"/>
            </a:lvl2pPr>
            <a:lvl3pPr marL="682625" indent="-228600" rtl="0">
              <a:buSzPct val="100000"/>
              <a:buFont typeface="Wingdings" panose="05000000000000000000" pitchFamily="2" charset="2"/>
              <a:buChar char="§"/>
              <a:defRPr sz="1600"/>
            </a:lvl3pPr>
            <a:lvl4pPr marL="914400" indent="-228600" rtl="0">
              <a:buSzPct val="100000"/>
              <a:buFont typeface="Arial" panose="020B0604020202020204" pitchFamily="34" charset="0"/>
              <a:buChar char="–"/>
              <a:defRPr sz="1600"/>
            </a:lvl4pPr>
            <a:lvl5pPr marL="1146175" indent="-228600" rtl="0">
              <a:buSzPct val="100000"/>
              <a:buFont typeface="Wingdings" panose="05000000000000000000" pitchFamily="2" charset="2"/>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343026"/>
            <a:ext cx="5499100" cy="4645024"/>
          </a:xfrm>
          <a:prstGeom prst="rect">
            <a:avLst/>
          </a:prstGeom>
        </p:spPr>
        <p:txBody>
          <a:bodyPr>
            <a:noAutofit/>
          </a:bodyPr>
          <a:lstStyle>
            <a:lvl1pPr marL="228600" indent="-228600" rtl="0">
              <a:buSzPct val="100000"/>
              <a:buFont typeface="Wingdings" panose="05000000000000000000" pitchFamily="2" charset="2"/>
              <a:buChar char="§"/>
              <a:defRPr sz="1600"/>
            </a:lvl1pPr>
            <a:lvl2pPr marL="461963" indent="-228600" rtl="0">
              <a:buSzPct val="100000"/>
              <a:buFont typeface="Arial" panose="020B0604020202020204" pitchFamily="34" charset="0"/>
              <a:buChar char="–"/>
              <a:defRPr sz="1600"/>
            </a:lvl2pPr>
            <a:lvl3pPr marL="682625" indent="-228600" rtl="0">
              <a:buSzPct val="100000"/>
              <a:buFont typeface="Wingdings" panose="05000000000000000000" pitchFamily="2" charset="2"/>
              <a:buChar char="§"/>
              <a:defRPr sz="1600"/>
            </a:lvl3pPr>
            <a:lvl4pPr marL="914400" indent="-228600" rtl="0">
              <a:buSzPct val="100000"/>
              <a:buFont typeface="Arial" panose="020B0604020202020204" pitchFamily="34" charset="0"/>
              <a:buChar char="–"/>
              <a:defRPr sz="1600"/>
            </a:lvl4pPr>
            <a:lvl5pPr marL="1146175" indent="-228600" rtl="0">
              <a:buSzPct val="100000"/>
              <a:buFont typeface="Wingdings" panose="05000000000000000000" pitchFamily="2" charset="2"/>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444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51E88738-008E-42F5-A8F1-252483E5AB21}"/>
              </a:ext>
            </a:extLst>
          </p:cNvPr>
          <p:cNvGraphicFramePr>
            <a:graphicFrameLocks noChangeAspect="1"/>
          </p:cNvGraphicFramePr>
          <p:nvPr userDrawn="1">
            <p:custDataLst>
              <p:tags r:id="rId2"/>
            </p:custDataLst>
            <p:extLst>
              <p:ext uri="{D42A27DB-BD31-4B8C-83A1-F6EECF244321}">
                <p14:modId xmlns:p14="http://schemas.microsoft.com/office/powerpoint/2010/main" val="1926263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2"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51E88738-008E-42F5-A8F1-252483E5AB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11"/>
          <p:cNvSpPr>
            <a:spLocks noGrp="1"/>
          </p:cNvSpPr>
          <p:nvPr>
            <p:ph type="body" sz="quarter" idx="16"/>
          </p:nvPr>
        </p:nvSpPr>
        <p:spPr>
          <a:xfrm>
            <a:off x="4424193" y="1343025"/>
            <a:ext cx="3336925" cy="4645025"/>
          </a:xfrm>
          <a:prstGeom prst="rect">
            <a:avLst/>
          </a:prstGeom>
        </p:spPr>
        <p:txBody>
          <a:bodyPr>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33363" rtl="0">
              <a:buSzPct val="100000"/>
              <a:buFont typeface="Arial" panose="020B0604020202020204" pitchFamily="34" charset="0"/>
              <a:buChar char="–"/>
              <a:defRPr lang="en-US" sz="1600" kern="1200" dirty="0" smtClean="0">
                <a:solidFill>
                  <a:schemeClr val="tx1"/>
                </a:solidFill>
                <a:latin typeface="+mn-lt"/>
                <a:ea typeface="+mn-ea"/>
                <a:cs typeface="+mn-cs"/>
              </a:defRPr>
            </a:lvl3pPr>
            <a:lvl4pPr marL="682625" indent="-225425" rtl="0">
              <a:buSzPct val="100000"/>
              <a:buFont typeface="Wingdings" panose="05000000000000000000" pitchFamily="2" charset="2"/>
              <a:buChar char="§"/>
              <a:defRPr lang="en-US" sz="1600" kern="1200" dirty="0">
                <a:solidFill>
                  <a:schemeClr val="tx1"/>
                </a:solidFill>
                <a:latin typeface="+mn-lt"/>
                <a:ea typeface="+mn-ea"/>
                <a:cs typeface="+mn-cs"/>
              </a:defRPr>
            </a:lvl4pPr>
            <a:lvl5pPr marL="914400" indent="-228600" rtl="0">
              <a:buSzPct val="100000"/>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7"/>
          </p:nvPr>
        </p:nvSpPr>
        <p:spPr>
          <a:xfrm>
            <a:off x="8391186" y="1343025"/>
            <a:ext cx="3336925" cy="4645025"/>
          </a:xfrm>
          <a:prstGeom prst="rect">
            <a:avLst/>
          </a:prstGeom>
        </p:spPr>
        <p:txBody>
          <a:bodyPr>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rtl="0">
              <a:buSzPct val="100000"/>
              <a:buFont typeface="Arial" panose="020B0604020202020204" pitchFamily="34" charset="0"/>
              <a:buChar char="–"/>
              <a:defRPr sz="1600"/>
            </a:lvl3pPr>
            <a:lvl4pPr marL="682625" indent="-228600" rtl="0">
              <a:buSzPct val="10000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vert="horz"/>
          <a:lstStyle>
            <a:lvl1pPr rtl="0">
              <a:defRPr/>
            </a:lvl1pPr>
          </a:lstStyle>
          <a:p>
            <a:r>
              <a:rPr lang="en-US" dirty="0"/>
              <a:t>Click to edit Master title style</a:t>
            </a:r>
          </a:p>
        </p:txBody>
      </p:sp>
      <p:sp>
        <p:nvSpPr>
          <p:cNvPr id="12" name="Text Placeholder 11"/>
          <p:cNvSpPr>
            <a:spLocks noGrp="1"/>
          </p:cNvSpPr>
          <p:nvPr>
            <p:ph type="body" sz="quarter" idx="13"/>
          </p:nvPr>
        </p:nvSpPr>
        <p:spPr>
          <a:xfrm>
            <a:off x="457200" y="1343025"/>
            <a:ext cx="3336925" cy="4645025"/>
          </a:xfrm>
          <a:prstGeom prst="rect">
            <a:avLst/>
          </a:prstGeom>
        </p:spPr>
        <p:txBody>
          <a:bodyPr>
            <a:noAutofit/>
          </a:bodyPr>
          <a:lstStyle>
            <a:lvl1pPr marL="0" indent="0" rtl="0">
              <a:buNone/>
              <a:defRPr sz="1600" b="1"/>
            </a:lvl1pPr>
            <a:lvl2pPr marL="228600" indent="-228600" rtl="0">
              <a:buClr>
                <a:schemeClr val="tx2"/>
              </a:buClr>
              <a:buSzPct val="100000"/>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SzPct val="10000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04788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6B9D35D5-EC43-4371-9C8C-6E50193EC633}"/>
              </a:ext>
            </a:extLst>
          </p:cNvPr>
          <p:cNvGraphicFramePr>
            <a:graphicFrameLocks noChangeAspect="1"/>
          </p:cNvGraphicFramePr>
          <p:nvPr userDrawn="1">
            <p:custDataLst>
              <p:tags r:id="rId2"/>
            </p:custDataLst>
            <p:extLst>
              <p:ext uri="{D42A27DB-BD31-4B8C-83A1-F6EECF244321}">
                <p14:modId xmlns:p14="http://schemas.microsoft.com/office/powerpoint/2010/main" val="2306642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xmlns="" id="{6B9D35D5-EC43-4371-9C8C-6E50193EC6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11"/>
          <p:cNvSpPr>
            <a:spLocks noGrp="1"/>
          </p:cNvSpPr>
          <p:nvPr>
            <p:ph type="body" sz="quarter" idx="19" hasCustomPrompt="1"/>
          </p:nvPr>
        </p:nvSpPr>
        <p:spPr bwMode="ltGray">
          <a:xfrm>
            <a:off x="4424192" y="1343025"/>
            <a:ext cx="3336925" cy="4645025"/>
          </a:xfrm>
          <a:prstGeom prst="rect">
            <a:avLst/>
          </a:prstGeom>
          <a:solidFill>
            <a:srgbClr val="26486F"/>
          </a:solidFill>
        </p:spPr>
        <p:txBody>
          <a:bodyPr lIns="182880" tIns="182880" rIns="91440" bIns="182880">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rtl="0">
              <a:buSzPct val="100000"/>
              <a:buFont typeface="Arial" panose="020B0604020202020204" pitchFamily="34" charset="0"/>
              <a:buChar char="–"/>
              <a:defRPr sz="1600"/>
            </a:lvl3pPr>
            <a:lvl4pPr marL="682625" indent="-228600" rtl="0">
              <a:buSzPct val="10000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1"/>
          <p:cNvSpPr>
            <a:spLocks noGrp="1"/>
          </p:cNvSpPr>
          <p:nvPr>
            <p:ph type="body" sz="quarter" idx="20" hasCustomPrompt="1"/>
          </p:nvPr>
        </p:nvSpPr>
        <p:spPr bwMode="ltGray">
          <a:xfrm>
            <a:off x="8391523" y="1343025"/>
            <a:ext cx="3336925" cy="4645025"/>
          </a:xfrm>
          <a:prstGeom prst="rect">
            <a:avLst/>
          </a:prstGeom>
          <a:solidFill>
            <a:srgbClr val="26486F"/>
          </a:solidFill>
        </p:spPr>
        <p:txBody>
          <a:bodyPr lIns="182880" tIns="182880" rIns="91440" bIns="182880">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rtl="0">
              <a:buSzPct val="100000"/>
              <a:buFont typeface="Arial" panose="020B0604020202020204" pitchFamily="34" charset="0"/>
              <a:buChar char="–"/>
              <a:defRPr sz="1600"/>
            </a:lvl3pPr>
            <a:lvl4pPr marL="682625" indent="-228600" rtl="0">
              <a:buSzPct val="10000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8" hasCustomPrompt="1"/>
          </p:nvPr>
        </p:nvSpPr>
        <p:spPr bwMode="ltGray">
          <a:xfrm>
            <a:off x="457200" y="1343025"/>
            <a:ext cx="3336925" cy="4645025"/>
          </a:xfrm>
          <a:prstGeom prst="rect">
            <a:avLst/>
          </a:prstGeom>
          <a:solidFill>
            <a:srgbClr val="26486F"/>
          </a:solidFill>
        </p:spPr>
        <p:txBody>
          <a:bodyPr lIns="182880" tIns="182880" rIns="91440" bIns="182880">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rtl="0">
              <a:buSzPct val="100000"/>
              <a:buFont typeface="Arial" panose="020B0604020202020204" pitchFamily="34" charset="0"/>
              <a:buChar char="–"/>
              <a:defRPr sz="1600"/>
            </a:lvl3pPr>
            <a:lvl4pPr marL="682625" indent="-228600" rtl="0">
              <a:buSzPct val="10000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lvl1pPr rtl="0">
              <a:defRPr/>
            </a:lvl1pPr>
          </a:lstStyle>
          <a:p>
            <a:endParaRPr lang="en-US" dirty="0"/>
          </a:p>
        </p:txBody>
      </p:sp>
    </p:spTree>
    <p:extLst>
      <p:ext uri="{BB962C8B-B14F-4D97-AF65-F5344CB8AC3E}">
        <p14:creationId xmlns:p14="http://schemas.microsoft.com/office/powerpoint/2010/main" val="6155680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6550A44B-659E-4952-8687-7B672FFBE86D}"/>
              </a:ext>
            </a:extLst>
          </p:cNvPr>
          <p:cNvGraphicFramePr>
            <a:graphicFrameLocks noChangeAspect="1"/>
          </p:cNvGraphicFramePr>
          <p:nvPr userDrawn="1">
            <p:custDataLst>
              <p:tags r:id="rId2"/>
            </p:custDataLst>
            <p:extLst>
              <p:ext uri="{D42A27DB-BD31-4B8C-83A1-F6EECF244321}">
                <p14:modId xmlns:p14="http://schemas.microsoft.com/office/powerpoint/2010/main" val="342101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xmlns="" id="{6550A44B-659E-4952-8687-7B672FFBE8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11"/>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rtl="0">
              <a:buSzPct val="100000"/>
              <a:buFont typeface="Arial" panose="020B0604020202020204" pitchFamily="34" charset="0"/>
              <a:buChar char="–"/>
              <a:defRPr sz="1600"/>
            </a:lvl3pPr>
            <a:lvl4pPr marL="682625" indent="-228600" rtl="0">
              <a:buSzPct val="10000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rtl="0">
              <a:buSzPct val="100000"/>
              <a:buFont typeface="Arial" panose="020B0604020202020204" pitchFamily="34" charset="0"/>
              <a:buChar char="–"/>
              <a:defRPr sz="1600"/>
            </a:lvl3pPr>
            <a:lvl4pPr marL="682625" indent="-228600" rtl="0">
              <a:buSzPct val="10000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rtl="0">
              <a:buSzPct val="100000"/>
              <a:buFont typeface="Arial" panose="020B0604020202020204" pitchFamily="34" charset="0"/>
              <a:buChar char="–"/>
              <a:defRPr sz="1600"/>
            </a:lvl3pPr>
            <a:lvl4pPr marL="682625" indent="-228600" rtl="0">
              <a:buSzPct val="10000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rtl="0">
              <a:buSzPct val="100000"/>
              <a:buFont typeface="Arial" panose="020B0604020202020204" pitchFamily="34" charset="0"/>
              <a:buChar char="–"/>
              <a:defRPr sz="1600"/>
            </a:lvl3pPr>
            <a:lvl4pPr marL="682625" indent="-228600" rtl="0">
              <a:buSzPct val="10000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lvl1pPr rtl="0">
              <a:defRPr/>
            </a:lvl1pPr>
          </a:lstStyle>
          <a:p>
            <a:endParaRPr lang="en-US" dirty="0"/>
          </a:p>
        </p:txBody>
      </p:sp>
    </p:spTree>
    <p:extLst>
      <p:ext uri="{BB962C8B-B14F-4D97-AF65-F5344CB8AC3E}">
        <p14:creationId xmlns:p14="http://schemas.microsoft.com/office/powerpoint/2010/main" val="3524743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D52CB7E0-AD3B-4136-B6C1-3786E5DB28BC}"/>
              </a:ext>
            </a:extLst>
          </p:cNvPr>
          <p:cNvGraphicFramePr>
            <a:graphicFrameLocks noChangeAspect="1"/>
          </p:cNvGraphicFramePr>
          <p:nvPr userDrawn="1">
            <p:custDataLst>
              <p:tags r:id="rId2"/>
            </p:custDataLst>
            <p:extLst>
              <p:ext uri="{D42A27DB-BD31-4B8C-83A1-F6EECF244321}">
                <p14:modId xmlns:p14="http://schemas.microsoft.com/office/powerpoint/2010/main" val="1061662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4"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xmlns="" id="{D52CB7E0-AD3B-4136-B6C1-3786E5DB28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lvl1pPr rtl="0">
              <a:defRPr/>
            </a:lvl1pPr>
          </a:lstStyle>
          <a:p>
            <a:endParaRPr lang="en-US" dirty="0"/>
          </a:p>
        </p:txBody>
      </p:sp>
      <p:sp>
        <p:nvSpPr>
          <p:cNvPr id="16" name="Text Placeholder 11"/>
          <p:cNvSpPr>
            <a:spLocks noGrp="1"/>
          </p:cNvSpPr>
          <p:nvPr>
            <p:ph type="body" sz="quarter" idx="18" hasCustomPrompt="1"/>
          </p:nvPr>
        </p:nvSpPr>
        <p:spPr bwMode="ltGray">
          <a:xfrm>
            <a:off x="457200" y="1343025"/>
            <a:ext cx="2563495" cy="4645025"/>
          </a:xfrm>
          <a:prstGeom prst="rect">
            <a:avLst/>
          </a:prstGeom>
          <a:solidFill>
            <a:srgbClr val="26486F"/>
          </a:solidFill>
        </p:spPr>
        <p:txBody>
          <a:bodyPr lIns="182880" tIns="182880" rIns="91440" bIns="182880">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rtl="0">
              <a:buSzPct val="100000"/>
              <a:buFont typeface="Arial" panose="020B0604020202020204" pitchFamily="34" charset="0"/>
              <a:buChar char="–"/>
              <a:defRPr sz="1600"/>
            </a:lvl3pPr>
            <a:lvl4pPr marL="682625" indent="-228600" rtl="0">
              <a:buSzPct val="10000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19" hasCustomPrompt="1"/>
          </p:nvPr>
        </p:nvSpPr>
        <p:spPr bwMode="ltGray">
          <a:xfrm>
            <a:off x="3363487" y="1343025"/>
            <a:ext cx="2563495" cy="4645025"/>
          </a:xfrm>
          <a:prstGeom prst="rect">
            <a:avLst/>
          </a:prstGeom>
          <a:solidFill>
            <a:srgbClr val="26486F"/>
          </a:solidFill>
        </p:spPr>
        <p:txBody>
          <a:bodyPr lIns="182880" tIns="182880" rIns="91440" bIns="182880">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rtl="0">
              <a:buSzPct val="100000"/>
              <a:buFont typeface="Arial" panose="020B0604020202020204" pitchFamily="34" charset="0"/>
              <a:buChar char="–"/>
              <a:defRPr sz="1600"/>
            </a:lvl3pPr>
            <a:lvl4pPr marL="682625" indent="-228600" rtl="0">
              <a:buSzPct val="10000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1"/>
          <p:cNvSpPr>
            <a:spLocks noGrp="1"/>
          </p:cNvSpPr>
          <p:nvPr>
            <p:ph type="body" sz="quarter" idx="20" hasCustomPrompt="1"/>
          </p:nvPr>
        </p:nvSpPr>
        <p:spPr bwMode="ltGray">
          <a:xfrm>
            <a:off x="6266602" y="1343025"/>
            <a:ext cx="2563495" cy="4645025"/>
          </a:xfrm>
          <a:prstGeom prst="rect">
            <a:avLst/>
          </a:prstGeom>
          <a:solidFill>
            <a:srgbClr val="26486F"/>
          </a:solidFill>
        </p:spPr>
        <p:txBody>
          <a:bodyPr lIns="182880" tIns="182880" rIns="91440" bIns="182880">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rtl="0">
              <a:buSzPct val="100000"/>
              <a:buFont typeface="Arial" panose="020B0604020202020204" pitchFamily="34" charset="0"/>
              <a:buChar char="–"/>
              <a:defRPr sz="1600"/>
            </a:lvl3pPr>
            <a:lvl4pPr marL="682625" indent="-228600" rtl="0">
              <a:buSzPct val="10000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21" hasCustomPrompt="1"/>
          </p:nvPr>
        </p:nvSpPr>
        <p:spPr bwMode="ltGray">
          <a:xfrm>
            <a:off x="9166542" y="1343025"/>
            <a:ext cx="2563495" cy="4645025"/>
          </a:xfrm>
          <a:prstGeom prst="rect">
            <a:avLst/>
          </a:prstGeom>
          <a:solidFill>
            <a:srgbClr val="26486F"/>
          </a:solidFill>
        </p:spPr>
        <p:txBody>
          <a:bodyPr lIns="182880" tIns="182880" rIns="91440" bIns="182880">
            <a:noAutofit/>
          </a:bodyPr>
          <a:lstStyle>
            <a:lvl1pPr marL="0" indent="0" rtl="0">
              <a:buNone/>
              <a:defRPr sz="1600" b="1"/>
            </a:lvl1pPr>
            <a:lvl2pPr marL="228600" indent="-228600" rtl="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rtl="0">
              <a:buSzPct val="100000"/>
              <a:buFont typeface="Arial" panose="020B0604020202020204" pitchFamily="34" charset="0"/>
              <a:buChar char="–"/>
              <a:defRPr sz="1600"/>
            </a:lvl3pPr>
            <a:lvl4pPr marL="682625" indent="-228600" rtl="0">
              <a:buSzPct val="100000"/>
              <a:buFont typeface="Wingdings" panose="05000000000000000000" pitchFamily="2" charset="2"/>
              <a:buChar char="§"/>
              <a:defRPr sz="1600"/>
            </a:lvl4pPr>
            <a:lvl5pPr marL="914400" indent="-231775"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17564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B1_Sk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0F4DA527-87A6-420C-B25B-894AD364AC86}"/>
              </a:ext>
            </a:extLst>
          </p:cNvPr>
          <p:cNvGraphicFramePr>
            <a:graphicFrameLocks noChangeAspect="1"/>
          </p:cNvGraphicFramePr>
          <p:nvPr userDrawn="1">
            <p:custDataLst>
              <p:tags r:id="rId2"/>
            </p:custDataLst>
            <p:extLst>
              <p:ext uri="{D42A27DB-BD31-4B8C-83A1-F6EECF244321}">
                <p14:modId xmlns:p14="http://schemas.microsoft.com/office/powerpoint/2010/main" val="1810108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8"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0F4DA527-87A6-420C-B25B-894AD364AC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1774899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3BDE8A66-137B-48B1-B968-519E5E77D9C5}"/>
              </a:ext>
            </a:extLst>
          </p:cNvPr>
          <p:cNvGraphicFramePr>
            <a:graphicFrameLocks noChangeAspect="1"/>
          </p:cNvGraphicFramePr>
          <p:nvPr userDrawn="1">
            <p:custDataLst>
              <p:tags r:id="rId2"/>
            </p:custDataLst>
            <p:extLst>
              <p:ext uri="{D42A27DB-BD31-4B8C-83A1-F6EECF244321}">
                <p14:modId xmlns:p14="http://schemas.microsoft.com/office/powerpoint/2010/main" val="3108760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2"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xmlns="" id="{3BDE8A66-137B-48B1-B968-519E5E77D9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5F42E9AB-82CE-4C71-8B7E-9354D1ECBDF1}"/>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xmlns="" id="{A8C70BEF-2DF7-4727-BB43-80147C8B19F4}"/>
              </a:ext>
            </a:extLst>
          </p:cNvPr>
          <p:cNvSpPr>
            <a:spLocks noGrp="1"/>
          </p:cNvSpPr>
          <p:nvPr>
            <p:ph type="title" hasCustomPrompt="1"/>
          </p:nvPr>
        </p:nvSpPr>
        <p:spPr>
          <a:xfrm>
            <a:off x="457199" y="1009268"/>
            <a:ext cx="8366761" cy="4476115"/>
          </a:xfrm>
        </p:spPr>
        <p:txBody>
          <a:bodyPr vert="horz" anchor="ctr" anchorCtr="0"/>
          <a:lstStyle>
            <a:lvl1pPr marL="182880" indent="-457200" rtl="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9" name="Text Placeholder 2">
            <a:extLst>
              <a:ext uri="{FF2B5EF4-FFF2-40B4-BE49-F238E27FC236}">
                <a16:creationId xmlns:a16="http://schemas.microsoft.com/office/drawing/2014/main" xmlns="" id="{CCEF406C-33DC-4CDB-AAB2-3B26722162FA}"/>
              </a:ext>
            </a:extLst>
          </p:cNvPr>
          <p:cNvSpPr>
            <a:spLocks noGrp="1"/>
          </p:cNvSpPr>
          <p:nvPr>
            <p:ph type="body" idx="1" hasCustomPrompt="1"/>
          </p:nvPr>
        </p:nvSpPr>
        <p:spPr>
          <a:xfrm>
            <a:off x="457199" y="5485384"/>
            <a:ext cx="8366761" cy="347472"/>
          </a:xfrm>
        </p:spPr>
        <p:txBody>
          <a:bodyPr/>
          <a:lstStyle>
            <a:lvl1pPr marL="0" indent="0" rtl="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39381659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B86F78F9-68C5-4F90-ADBA-2FA5D76CE70C}"/>
              </a:ext>
            </a:extLst>
          </p:cNvPr>
          <p:cNvGraphicFramePr>
            <a:graphicFrameLocks noChangeAspect="1"/>
          </p:cNvGraphicFramePr>
          <p:nvPr userDrawn="1">
            <p:custDataLst>
              <p:tags r:id="rId2"/>
            </p:custDataLst>
            <p:extLst>
              <p:ext uri="{D42A27DB-BD31-4B8C-83A1-F6EECF244321}">
                <p14:modId xmlns:p14="http://schemas.microsoft.com/office/powerpoint/2010/main" val="3029328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6"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xmlns="" id="{B86F78F9-68C5-4F90-ADBA-2FA5D76CE7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9D4C4EC0-D50D-4B35-91AF-1F7DBA755E65}"/>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12" name="Picture Placeholder 9">
            <a:extLst>
              <a:ext uri="{FF2B5EF4-FFF2-40B4-BE49-F238E27FC236}">
                <a16:creationId xmlns:a16="http://schemas.microsoft.com/office/drawing/2014/main" xmlns="" id="{D9704151-CC10-4896-862D-97022BBBE55F}"/>
              </a:ext>
            </a:extLst>
          </p:cNvPr>
          <p:cNvSpPr>
            <a:spLocks noGrp="1"/>
          </p:cNvSpPr>
          <p:nvPr>
            <p:ph type="pic" sz="quarter" idx="10"/>
          </p:nvPr>
        </p:nvSpPr>
        <p:spPr>
          <a:xfrm>
            <a:off x="7040880" y="1346199"/>
            <a:ext cx="4690872" cy="4297680"/>
          </a:xfrm>
        </p:spPr>
        <p:txBody>
          <a:bodyPr/>
          <a:lstStyle>
            <a:lvl1pPr marL="0" indent="0" rtl="0">
              <a:buNone/>
              <a:defRPr/>
            </a:lvl1pPr>
          </a:lstStyle>
          <a:p>
            <a:r>
              <a:rPr lang="en-US" dirty="0"/>
              <a:t>Click icon to add picture</a:t>
            </a:r>
          </a:p>
        </p:txBody>
      </p:sp>
      <p:sp>
        <p:nvSpPr>
          <p:cNvPr id="14" name="Title 1">
            <a:extLst>
              <a:ext uri="{FF2B5EF4-FFF2-40B4-BE49-F238E27FC236}">
                <a16:creationId xmlns:a16="http://schemas.microsoft.com/office/drawing/2014/main" xmlns="" id="{08A1F32A-9A25-46DA-8B29-8AB1E5038CCE}"/>
              </a:ext>
            </a:extLst>
          </p:cNvPr>
          <p:cNvSpPr>
            <a:spLocks noGrp="1"/>
          </p:cNvSpPr>
          <p:nvPr>
            <p:ph type="title" hasCustomPrompt="1"/>
          </p:nvPr>
        </p:nvSpPr>
        <p:spPr>
          <a:xfrm>
            <a:off x="457199" y="1009268"/>
            <a:ext cx="6060141" cy="4476115"/>
          </a:xfrm>
        </p:spPr>
        <p:txBody>
          <a:bodyPr vert="horz" anchor="ctr" anchorCtr="0"/>
          <a:lstStyle>
            <a:lvl1pPr marL="182880" indent="-457200" rtl="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8" name="Text Placeholder 2">
            <a:extLst>
              <a:ext uri="{FF2B5EF4-FFF2-40B4-BE49-F238E27FC236}">
                <a16:creationId xmlns:a16="http://schemas.microsoft.com/office/drawing/2014/main" xmlns="" id="{8E238CB4-B5C5-45BE-97D3-3BD04123727F}"/>
              </a:ext>
            </a:extLst>
          </p:cNvPr>
          <p:cNvSpPr>
            <a:spLocks noGrp="1"/>
          </p:cNvSpPr>
          <p:nvPr>
            <p:ph type="body" idx="1" hasCustomPrompt="1"/>
          </p:nvPr>
        </p:nvSpPr>
        <p:spPr>
          <a:xfrm>
            <a:off x="457199" y="5485384"/>
            <a:ext cx="6060141" cy="347472"/>
          </a:xfrm>
        </p:spPr>
        <p:txBody>
          <a:bodyPr/>
          <a:lstStyle>
            <a:lvl1pPr marL="0" indent="0" rtl="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23926936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W1_Surf">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9C3BE368-79BE-4078-B43E-8B1ABE810D2D}"/>
              </a:ext>
            </a:extLst>
          </p:cNvPr>
          <p:cNvGraphicFramePr>
            <a:graphicFrameLocks noChangeAspect="1"/>
          </p:cNvGraphicFramePr>
          <p:nvPr userDrawn="1">
            <p:custDataLst>
              <p:tags r:id="rId2"/>
            </p:custDataLst>
            <p:extLst>
              <p:ext uri="{D42A27DB-BD31-4B8C-83A1-F6EECF244321}">
                <p14:modId xmlns:p14="http://schemas.microsoft.com/office/powerpoint/2010/main" val="1420973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4"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9C3BE368-79BE-4078-B43E-8B1ABE810D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cus Frame 2"/>
          <p:cNvSpPr>
            <a:spLocks noChangeAspect="1"/>
          </p:cNvSpPr>
          <p:nvPr userDrawn="1"/>
        </p:nvSpPr>
        <p:spPr bwMode="blackWhite">
          <a:xfrm>
            <a:off x="7058822"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rtl="0">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F5F3AE04-824E-4F17-B774-457DA80A7E38}"/>
              </a:ext>
            </a:extLst>
          </p:cNvPr>
          <p:cNvPicPr>
            <a:picLocks noChangeAspect="1"/>
          </p:cNvPicPr>
          <p:nvPr userDrawn="1"/>
        </p:nvPicPr>
        <p:blipFill>
          <a:blip r:embed="rId6"/>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2863953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W1_Steel">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E284F5BD-E507-42B3-8BE2-7BC031A09FB2}"/>
              </a:ext>
            </a:extLst>
          </p:cNvPr>
          <p:cNvGraphicFramePr>
            <a:graphicFrameLocks noChangeAspect="1"/>
          </p:cNvGraphicFramePr>
          <p:nvPr userDrawn="1">
            <p:custDataLst>
              <p:tags r:id="rId2"/>
            </p:custDataLst>
            <p:extLst>
              <p:ext uri="{D42A27DB-BD31-4B8C-83A1-F6EECF244321}">
                <p14:modId xmlns:p14="http://schemas.microsoft.com/office/powerpoint/2010/main" val="1713922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8"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E284F5BD-E507-42B3-8BE2-7BC031A09F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cus Frame 2"/>
          <p:cNvSpPr>
            <a:spLocks noChangeAspect="1"/>
          </p:cNvSpPr>
          <p:nvPr userDrawn="1"/>
        </p:nvSpPr>
        <p:spPr bwMode="blackWhite">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rtl="0">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269E45D6-B405-4307-B5E3-C306CF715F62}"/>
              </a:ext>
            </a:extLst>
          </p:cNvPr>
          <p:cNvPicPr>
            <a:picLocks noChangeAspect="1"/>
          </p:cNvPicPr>
          <p:nvPr userDrawn="1"/>
        </p:nvPicPr>
        <p:blipFill>
          <a:blip r:embed="rId6"/>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42709846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418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W1_Tang">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BE551B6D-9FCB-4448-9A97-6E5F80E70310}"/>
              </a:ext>
            </a:extLst>
          </p:cNvPr>
          <p:cNvGraphicFramePr>
            <a:graphicFrameLocks noChangeAspect="1"/>
          </p:cNvGraphicFramePr>
          <p:nvPr userDrawn="1">
            <p:custDataLst>
              <p:tags r:id="rId2"/>
            </p:custDataLst>
            <p:extLst>
              <p:ext uri="{D42A27DB-BD31-4B8C-83A1-F6EECF244321}">
                <p14:modId xmlns:p14="http://schemas.microsoft.com/office/powerpoint/2010/main" val="2485524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2"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BE551B6D-9FCB-4448-9A97-6E5F80E703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cus Frame 2"/>
          <p:cNvSpPr>
            <a:spLocks noChangeAspect="1"/>
          </p:cNvSpPr>
          <p:nvPr userDrawn="1"/>
        </p:nvSpPr>
        <p:spPr bwMode="blackWhite">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rtl="0">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9B12B464-7195-4E51-B68E-D1337B600F58}"/>
              </a:ext>
            </a:extLst>
          </p:cNvPr>
          <p:cNvPicPr>
            <a:picLocks noChangeAspect="1"/>
          </p:cNvPicPr>
          <p:nvPr userDrawn="1"/>
        </p:nvPicPr>
        <p:blipFill>
          <a:blip r:embed="rId6"/>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22062327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W1_Lemon">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17644592-B508-443C-910C-6E6DA770103D}"/>
              </a:ext>
            </a:extLst>
          </p:cNvPr>
          <p:cNvGraphicFramePr>
            <a:graphicFrameLocks noChangeAspect="1"/>
          </p:cNvGraphicFramePr>
          <p:nvPr userDrawn="1">
            <p:custDataLst>
              <p:tags r:id="rId2"/>
            </p:custDataLst>
            <p:extLst>
              <p:ext uri="{D42A27DB-BD31-4B8C-83A1-F6EECF244321}">
                <p14:modId xmlns:p14="http://schemas.microsoft.com/office/powerpoint/2010/main" val="3747355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6"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17644592-B508-443C-910C-6E6DA77010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cus Frame 2"/>
          <p:cNvSpPr>
            <a:spLocks noChangeAspect="1"/>
          </p:cNvSpPr>
          <p:nvPr userDrawn="1"/>
        </p:nvSpPr>
        <p:spPr bwMode="blackWhite">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rtl="0">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9578854D-72F7-475F-BCDC-C7E3CA48F480}"/>
              </a:ext>
            </a:extLst>
          </p:cNvPr>
          <p:cNvPicPr>
            <a:picLocks noChangeAspect="1"/>
          </p:cNvPicPr>
          <p:nvPr userDrawn="1"/>
        </p:nvPicPr>
        <p:blipFill>
          <a:blip r:embed="rId6"/>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42214562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W1_Ros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2B16A47D-1E18-4416-896C-0278E2936FE6}"/>
              </a:ext>
            </a:extLst>
          </p:cNvPr>
          <p:cNvGraphicFramePr>
            <a:graphicFrameLocks noChangeAspect="1"/>
          </p:cNvGraphicFramePr>
          <p:nvPr userDrawn="1">
            <p:custDataLst>
              <p:tags r:id="rId2"/>
            </p:custDataLst>
            <p:extLst>
              <p:ext uri="{D42A27DB-BD31-4B8C-83A1-F6EECF244321}">
                <p14:modId xmlns:p14="http://schemas.microsoft.com/office/powerpoint/2010/main" val="3472540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0"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2B16A47D-1E18-4416-896C-0278E2936F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cus Frame 2"/>
          <p:cNvSpPr>
            <a:spLocks noChangeAspect="1"/>
          </p:cNvSpPr>
          <p:nvPr userDrawn="1"/>
        </p:nvSpPr>
        <p:spPr bwMode="blackWhite">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rtl="0">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F0B4446D-0189-4EBD-A92A-CE15D6AABE05}"/>
              </a:ext>
            </a:extLst>
          </p:cNvPr>
          <p:cNvPicPr>
            <a:picLocks noChangeAspect="1"/>
          </p:cNvPicPr>
          <p:nvPr userDrawn="1"/>
        </p:nvPicPr>
        <p:blipFill>
          <a:blip r:embed="rId6"/>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7665613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W1_Surf">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8F448BB8-5FB4-4AD1-9648-7296BDC12375}"/>
              </a:ext>
            </a:extLst>
          </p:cNvPr>
          <p:cNvGraphicFramePr>
            <a:graphicFrameLocks noChangeAspect="1"/>
          </p:cNvGraphicFramePr>
          <p:nvPr userDrawn="1">
            <p:custDataLst>
              <p:tags r:id="rId2"/>
            </p:custDataLst>
            <p:extLst>
              <p:ext uri="{D42A27DB-BD31-4B8C-83A1-F6EECF244321}">
                <p14:modId xmlns:p14="http://schemas.microsoft.com/office/powerpoint/2010/main" val="2547518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4"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8F448BB8-5FB4-4AD1-9648-7296BDC123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3335070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W1_Stee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53675293-C504-4BA0-A8CC-709A349B344A}"/>
              </a:ext>
            </a:extLst>
          </p:cNvPr>
          <p:cNvGraphicFramePr>
            <a:graphicFrameLocks noChangeAspect="1"/>
          </p:cNvGraphicFramePr>
          <p:nvPr userDrawn="1">
            <p:custDataLst>
              <p:tags r:id="rId2"/>
            </p:custDataLst>
            <p:extLst>
              <p:ext uri="{D42A27DB-BD31-4B8C-83A1-F6EECF244321}">
                <p14:modId xmlns:p14="http://schemas.microsoft.com/office/powerpoint/2010/main" val="2870391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8"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53675293-C504-4BA0-A8CC-709A349B34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6281709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W1_Tan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E5412397-B2AC-4105-AF3F-CFBDCB291913}"/>
              </a:ext>
            </a:extLst>
          </p:cNvPr>
          <p:cNvGraphicFramePr>
            <a:graphicFrameLocks noChangeAspect="1"/>
          </p:cNvGraphicFramePr>
          <p:nvPr userDrawn="1">
            <p:custDataLst>
              <p:tags r:id="rId2"/>
            </p:custDataLst>
            <p:extLst>
              <p:ext uri="{D42A27DB-BD31-4B8C-83A1-F6EECF244321}">
                <p14:modId xmlns:p14="http://schemas.microsoft.com/office/powerpoint/2010/main" val="4128227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2"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E5412397-B2AC-4105-AF3F-CFBDCB2919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39377596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W1_Lem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456EA325-316E-45EE-99E4-EA913628CB78}"/>
              </a:ext>
            </a:extLst>
          </p:cNvPr>
          <p:cNvGraphicFramePr>
            <a:graphicFrameLocks noChangeAspect="1"/>
          </p:cNvGraphicFramePr>
          <p:nvPr userDrawn="1">
            <p:custDataLst>
              <p:tags r:id="rId2"/>
            </p:custDataLst>
            <p:extLst>
              <p:ext uri="{D42A27DB-BD31-4B8C-83A1-F6EECF244321}">
                <p14:modId xmlns:p14="http://schemas.microsoft.com/office/powerpoint/2010/main" val="3699635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6"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456EA325-316E-45EE-99E4-EA913628CB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6014891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W1_Ros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F20768D-769C-4F27-8ACB-A8F2A0077A52}"/>
              </a:ext>
            </a:extLst>
          </p:cNvPr>
          <p:cNvGraphicFramePr>
            <a:graphicFrameLocks noChangeAspect="1"/>
          </p:cNvGraphicFramePr>
          <p:nvPr userDrawn="1">
            <p:custDataLst>
              <p:tags r:id="rId2"/>
            </p:custDataLst>
            <p:extLst>
              <p:ext uri="{D42A27DB-BD31-4B8C-83A1-F6EECF244321}">
                <p14:modId xmlns:p14="http://schemas.microsoft.com/office/powerpoint/2010/main" val="2438335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0"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3F20768D-769C-4F27-8ACB-A8F2A0077A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2190986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B1_Surf">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FF39813A-80B2-4431-8B2F-95232DF4AABD}"/>
              </a:ext>
            </a:extLst>
          </p:cNvPr>
          <p:cNvGraphicFramePr>
            <a:graphicFrameLocks noChangeAspect="1"/>
          </p:cNvGraphicFramePr>
          <p:nvPr userDrawn="1">
            <p:custDataLst>
              <p:tags r:id="rId2"/>
            </p:custDataLst>
            <p:extLst>
              <p:ext uri="{D42A27DB-BD31-4B8C-83A1-F6EECF244321}">
                <p14:modId xmlns:p14="http://schemas.microsoft.com/office/powerpoint/2010/main" val="2297150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8"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FF39813A-80B2-4431-8B2F-95232DF4AA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cus Frame 2"/>
          <p:cNvSpPr>
            <a:spLocks noChangeAspect="1"/>
          </p:cNvSpPr>
          <p:nvPr userDrawn="1"/>
        </p:nvSpPr>
        <p:spPr bwMode="blackWhite">
          <a:xfrm>
            <a:off x="7058822"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rtl="0">
              <a:defRPr sz="3600"/>
            </a:lvl1pPr>
          </a:lstStyle>
          <a:p>
            <a:endParaRPr lang="en-US" dirty="0"/>
          </a:p>
        </p:txBody>
      </p:sp>
      <p:sp>
        <p:nvSpPr>
          <p:cNvPr id="11" name="TextBox 10"/>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6094D293-C9BF-4FCB-9A99-51E71F38CBF8}"/>
              </a:ext>
            </a:extLst>
          </p:cNvPr>
          <p:cNvPicPr>
            <a:picLocks noChangeAspect="1"/>
          </p:cNvPicPr>
          <p:nvPr userDrawn="1"/>
        </p:nvPicPr>
        <p:blipFill>
          <a:blip r:embed="rId6"/>
          <a:stretch>
            <a:fillRect/>
          </a:stretch>
        </p:blipFill>
        <p:spPr>
          <a:xfrm>
            <a:off x="9692640" y="6053328"/>
            <a:ext cx="2041210" cy="466344"/>
          </a:xfrm>
          <a:prstGeom prst="rect">
            <a:avLst/>
          </a:prstGeom>
        </p:spPr>
      </p:pic>
    </p:spTree>
    <p:extLst>
      <p:ext uri="{BB962C8B-B14F-4D97-AF65-F5344CB8AC3E}">
        <p14:creationId xmlns:p14="http://schemas.microsoft.com/office/powerpoint/2010/main" val="2598171142"/>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B1_Stee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CD20B289-6CEA-4D2E-AB26-6A6EE68802EE}"/>
              </a:ext>
            </a:extLst>
          </p:cNvPr>
          <p:cNvGraphicFramePr>
            <a:graphicFrameLocks noChangeAspect="1"/>
          </p:cNvGraphicFramePr>
          <p:nvPr userDrawn="1">
            <p:custDataLst>
              <p:tags r:id="rId2"/>
            </p:custDataLst>
            <p:extLst>
              <p:ext uri="{D42A27DB-BD31-4B8C-83A1-F6EECF244321}">
                <p14:modId xmlns:p14="http://schemas.microsoft.com/office/powerpoint/2010/main" val="2595157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2"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CD20B289-6CEA-4D2E-AB26-6A6EE68802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cus Frame 2"/>
          <p:cNvSpPr>
            <a:spLocks noChangeAspect="1"/>
          </p:cNvSpPr>
          <p:nvPr userDrawn="1"/>
        </p:nvSpPr>
        <p:spPr bwMode="blackWhite">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rtl="0">
              <a:defRPr sz="3600"/>
            </a:lvl1pPr>
          </a:lstStyle>
          <a:p>
            <a:endParaRPr lang="en-US" dirty="0"/>
          </a:p>
        </p:txBody>
      </p:sp>
      <p:sp>
        <p:nvSpPr>
          <p:cNvPr id="11" name="TextBox 10"/>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62CB6DD0-A0BB-4AF5-97D9-C667B0603CCE}"/>
              </a:ext>
            </a:extLst>
          </p:cNvPr>
          <p:cNvPicPr>
            <a:picLocks noChangeAspect="1"/>
          </p:cNvPicPr>
          <p:nvPr userDrawn="1"/>
        </p:nvPicPr>
        <p:blipFill>
          <a:blip r:embed="rId6"/>
          <a:stretch>
            <a:fillRect/>
          </a:stretch>
        </p:blipFill>
        <p:spPr>
          <a:xfrm>
            <a:off x="9692640" y="6053328"/>
            <a:ext cx="2041210" cy="466344"/>
          </a:xfrm>
          <a:prstGeom prst="rect">
            <a:avLst/>
          </a:prstGeom>
        </p:spPr>
      </p:pic>
    </p:spTree>
    <p:extLst>
      <p:ext uri="{BB962C8B-B14F-4D97-AF65-F5344CB8AC3E}">
        <p14:creationId xmlns:p14="http://schemas.microsoft.com/office/powerpoint/2010/main" val="268311875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D0BF5CC6-E5D7-4BEA-910F-F617FE005DF6}"/>
              </a:ext>
            </a:extLst>
          </p:cNvPr>
          <p:cNvGraphicFramePr>
            <a:graphicFrameLocks noChangeAspect="1"/>
          </p:cNvGraphicFramePr>
          <p:nvPr userDrawn="1">
            <p:custDataLst>
              <p:tags r:id="rId2"/>
            </p:custDataLst>
            <p:extLst>
              <p:ext uri="{D42A27DB-BD31-4B8C-83A1-F6EECF244321}">
                <p14:modId xmlns:p14="http://schemas.microsoft.com/office/powerpoint/2010/main" val="2501336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4"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D0BF5CC6-E5D7-4BEA-910F-F617FE005D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dirty="0"/>
              <a:t>Click to edit Master title style</a:t>
            </a:r>
          </a:p>
        </p:txBody>
      </p:sp>
    </p:spTree>
    <p:extLst>
      <p:ext uri="{BB962C8B-B14F-4D97-AF65-F5344CB8AC3E}">
        <p14:creationId xmlns:p14="http://schemas.microsoft.com/office/powerpoint/2010/main" val="32083166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B1_Tan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972AB2A2-3FB0-4D25-B8A7-9ED77B66D279}"/>
              </a:ext>
            </a:extLst>
          </p:cNvPr>
          <p:cNvGraphicFramePr>
            <a:graphicFrameLocks noChangeAspect="1"/>
          </p:cNvGraphicFramePr>
          <p:nvPr userDrawn="1">
            <p:custDataLst>
              <p:tags r:id="rId2"/>
            </p:custDataLst>
            <p:extLst>
              <p:ext uri="{D42A27DB-BD31-4B8C-83A1-F6EECF244321}">
                <p14:modId xmlns:p14="http://schemas.microsoft.com/office/powerpoint/2010/main" val="1508919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6"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972AB2A2-3FB0-4D25-B8A7-9ED77B66D2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cus Frame 2"/>
          <p:cNvSpPr>
            <a:spLocks noChangeAspect="1"/>
          </p:cNvSpPr>
          <p:nvPr userDrawn="1"/>
        </p:nvSpPr>
        <p:spPr bwMode="blackWhite">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rtl="0">
              <a:defRPr sz="3600"/>
            </a:lvl1pPr>
          </a:lstStyle>
          <a:p>
            <a:endParaRPr lang="en-US" dirty="0"/>
          </a:p>
        </p:txBody>
      </p:sp>
      <p:sp>
        <p:nvSpPr>
          <p:cNvPr id="11" name="TextBox 10"/>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6858249E-64C9-42EC-BD9C-9CE96DE59DF4}"/>
              </a:ext>
            </a:extLst>
          </p:cNvPr>
          <p:cNvPicPr>
            <a:picLocks noChangeAspect="1"/>
          </p:cNvPicPr>
          <p:nvPr userDrawn="1"/>
        </p:nvPicPr>
        <p:blipFill>
          <a:blip r:embed="rId6"/>
          <a:stretch>
            <a:fillRect/>
          </a:stretch>
        </p:blipFill>
        <p:spPr>
          <a:xfrm>
            <a:off x="9692640" y="6053328"/>
            <a:ext cx="2041210" cy="466344"/>
          </a:xfrm>
          <a:prstGeom prst="rect">
            <a:avLst/>
          </a:prstGeom>
        </p:spPr>
      </p:pic>
    </p:spTree>
    <p:extLst>
      <p:ext uri="{BB962C8B-B14F-4D97-AF65-F5344CB8AC3E}">
        <p14:creationId xmlns:p14="http://schemas.microsoft.com/office/powerpoint/2010/main" val="2512242094"/>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B1_Lem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E2AC405B-023F-4497-A472-B5B25171C6BD}"/>
              </a:ext>
            </a:extLst>
          </p:cNvPr>
          <p:cNvGraphicFramePr>
            <a:graphicFrameLocks noChangeAspect="1"/>
          </p:cNvGraphicFramePr>
          <p:nvPr userDrawn="1">
            <p:custDataLst>
              <p:tags r:id="rId2"/>
            </p:custDataLst>
            <p:extLst>
              <p:ext uri="{D42A27DB-BD31-4B8C-83A1-F6EECF244321}">
                <p14:modId xmlns:p14="http://schemas.microsoft.com/office/powerpoint/2010/main" val="1705992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0"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E2AC405B-023F-4497-A472-B5B25171C6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cus Frame 2"/>
          <p:cNvSpPr>
            <a:spLocks noChangeAspect="1"/>
          </p:cNvSpPr>
          <p:nvPr userDrawn="1"/>
        </p:nvSpPr>
        <p:spPr bwMode="blackWhite">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rtl="0">
              <a:defRPr sz="3600"/>
            </a:lvl1pPr>
          </a:lstStyle>
          <a:p>
            <a:endParaRPr lang="en-US" dirty="0"/>
          </a:p>
        </p:txBody>
      </p:sp>
      <p:sp>
        <p:nvSpPr>
          <p:cNvPr id="11" name="TextBox 10"/>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9BC022A2-30D1-4C19-AC92-0D0A7651B261}"/>
              </a:ext>
            </a:extLst>
          </p:cNvPr>
          <p:cNvPicPr>
            <a:picLocks noChangeAspect="1"/>
          </p:cNvPicPr>
          <p:nvPr userDrawn="1"/>
        </p:nvPicPr>
        <p:blipFill>
          <a:blip r:embed="rId6"/>
          <a:stretch>
            <a:fillRect/>
          </a:stretch>
        </p:blipFill>
        <p:spPr>
          <a:xfrm>
            <a:off x="9692640" y="6053328"/>
            <a:ext cx="2041210" cy="466344"/>
          </a:xfrm>
          <a:prstGeom prst="rect">
            <a:avLst/>
          </a:prstGeom>
        </p:spPr>
      </p:pic>
    </p:spTree>
    <p:extLst>
      <p:ext uri="{BB962C8B-B14F-4D97-AF65-F5344CB8AC3E}">
        <p14:creationId xmlns:p14="http://schemas.microsoft.com/office/powerpoint/2010/main" val="1506269273"/>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B1_Ros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866589C3-51E2-4262-ABD9-1E5807BE3107}"/>
              </a:ext>
            </a:extLst>
          </p:cNvPr>
          <p:cNvGraphicFramePr>
            <a:graphicFrameLocks noChangeAspect="1"/>
          </p:cNvGraphicFramePr>
          <p:nvPr userDrawn="1">
            <p:custDataLst>
              <p:tags r:id="rId2"/>
            </p:custDataLst>
            <p:extLst>
              <p:ext uri="{D42A27DB-BD31-4B8C-83A1-F6EECF244321}">
                <p14:modId xmlns:p14="http://schemas.microsoft.com/office/powerpoint/2010/main" val="2813474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4"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866589C3-51E2-4262-ABD9-1E5807BE31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cus Frame 2"/>
          <p:cNvSpPr>
            <a:spLocks noChangeAspect="1"/>
          </p:cNvSpPr>
          <p:nvPr userDrawn="1"/>
        </p:nvSpPr>
        <p:spPr bwMode="blackWhite">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rtl="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rtl="0">
              <a:defRPr sz="3600"/>
            </a:lvl1pPr>
          </a:lstStyle>
          <a:p>
            <a:endParaRPr lang="en-US" dirty="0"/>
          </a:p>
        </p:txBody>
      </p:sp>
      <p:sp>
        <p:nvSpPr>
          <p:cNvPr id="15" name="TextBox 14"/>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rtl="0"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1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A47678B8-6514-40C4-87E5-5A2D66771883}"/>
              </a:ext>
            </a:extLst>
          </p:cNvPr>
          <p:cNvPicPr>
            <a:picLocks noChangeAspect="1"/>
          </p:cNvPicPr>
          <p:nvPr userDrawn="1"/>
        </p:nvPicPr>
        <p:blipFill>
          <a:blip r:embed="rId6"/>
          <a:stretch>
            <a:fillRect/>
          </a:stretch>
        </p:blipFill>
        <p:spPr>
          <a:xfrm>
            <a:off x="9693021" y="6053328"/>
            <a:ext cx="2041210" cy="466344"/>
          </a:xfrm>
          <a:prstGeom prst="rect">
            <a:avLst/>
          </a:prstGeom>
        </p:spPr>
      </p:pic>
    </p:spTree>
    <p:extLst>
      <p:ext uri="{BB962C8B-B14F-4D97-AF65-F5344CB8AC3E}">
        <p14:creationId xmlns:p14="http://schemas.microsoft.com/office/powerpoint/2010/main" val="2152423458"/>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B1_Surf">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A772D9CA-4B6E-4964-92C0-B03D5F9726CD}"/>
              </a:ext>
            </a:extLst>
          </p:cNvPr>
          <p:cNvGraphicFramePr>
            <a:graphicFrameLocks noChangeAspect="1"/>
          </p:cNvGraphicFramePr>
          <p:nvPr userDrawn="1">
            <p:custDataLst>
              <p:tags r:id="rId2"/>
            </p:custDataLst>
            <p:extLst>
              <p:ext uri="{D42A27DB-BD31-4B8C-83A1-F6EECF244321}">
                <p14:modId xmlns:p14="http://schemas.microsoft.com/office/powerpoint/2010/main" val="56213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8"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A772D9CA-4B6E-4964-92C0-B03D5F9726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41472237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B1_Stee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16D0BBDE-8FDB-423E-BC38-B52054C4AD9E}"/>
              </a:ext>
            </a:extLst>
          </p:cNvPr>
          <p:cNvGraphicFramePr>
            <a:graphicFrameLocks noChangeAspect="1"/>
          </p:cNvGraphicFramePr>
          <p:nvPr userDrawn="1">
            <p:custDataLst>
              <p:tags r:id="rId2"/>
            </p:custDataLst>
            <p:extLst>
              <p:ext uri="{D42A27DB-BD31-4B8C-83A1-F6EECF244321}">
                <p14:modId xmlns:p14="http://schemas.microsoft.com/office/powerpoint/2010/main" val="1533046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2"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16D0BBDE-8FDB-423E-BC38-B52054C4AD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2755955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B1_Tan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10B42585-367B-4F3F-BF41-B6B4FF365093}"/>
              </a:ext>
            </a:extLst>
          </p:cNvPr>
          <p:cNvGraphicFramePr>
            <a:graphicFrameLocks noChangeAspect="1"/>
          </p:cNvGraphicFramePr>
          <p:nvPr userDrawn="1">
            <p:custDataLst>
              <p:tags r:id="rId2"/>
            </p:custDataLst>
            <p:extLst>
              <p:ext uri="{D42A27DB-BD31-4B8C-83A1-F6EECF244321}">
                <p14:modId xmlns:p14="http://schemas.microsoft.com/office/powerpoint/2010/main" val="222458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6"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10B42585-367B-4F3F-BF41-B6B4FF3650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19096082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B1_Lem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93A4D736-6A2B-4184-A644-2959DF9D0CE5}"/>
              </a:ext>
            </a:extLst>
          </p:cNvPr>
          <p:cNvGraphicFramePr>
            <a:graphicFrameLocks noChangeAspect="1"/>
          </p:cNvGraphicFramePr>
          <p:nvPr userDrawn="1">
            <p:custDataLst>
              <p:tags r:id="rId2"/>
            </p:custDataLst>
            <p:extLst>
              <p:ext uri="{D42A27DB-BD31-4B8C-83A1-F6EECF244321}">
                <p14:modId xmlns:p14="http://schemas.microsoft.com/office/powerpoint/2010/main" val="2604322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0"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93A4D736-6A2B-4184-A644-2959DF9D0C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2265270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B1_Ros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1444280C-0EB0-41AB-A209-FE41EE417805}"/>
              </a:ext>
            </a:extLst>
          </p:cNvPr>
          <p:cNvGraphicFramePr>
            <a:graphicFrameLocks noChangeAspect="1"/>
          </p:cNvGraphicFramePr>
          <p:nvPr userDrawn="1">
            <p:custDataLst>
              <p:tags r:id="rId2"/>
            </p:custDataLst>
            <p:extLst>
              <p:ext uri="{D42A27DB-BD31-4B8C-83A1-F6EECF244321}">
                <p14:modId xmlns:p14="http://schemas.microsoft.com/office/powerpoint/2010/main" val="712721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4"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xmlns="" id="{1444280C-0EB0-41AB-A209-FE41EE4178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rtl="0">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32972832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7D74BDB0-7AD7-42C5-A518-E619752A6870}"/>
              </a:ext>
            </a:extLst>
          </p:cNvPr>
          <p:cNvGraphicFramePr>
            <a:graphicFrameLocks noChangeAspect="1"/>
          </p:cNvGraphicFramePr>
          <p:nvPr userDrawn="1">
            <p:custDataLst>
              <p:tags r:id="rId2"/>
            </p:custDataLst>
            <p:extLst>
              <p:ext uri="{D42A27DB-BD31-4B8C-83A1-F6EECF244321}">
                <p14:modId xmlns:p14="http://schemas.microsoft.com/office/powerpoint/2010/main" val="4069777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8"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7D74BDB0-7AD7-42C5-A518-E619752A68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dirty="0"/>
              <a:t>Click to edit Master title style</a:t>
            </a:r>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marR="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lang="en-US" sz="1600" kern="1200" dirty="0" smtClean="0">
                <a:solidFill>
                  <a:schemeClr val="tx1"/>
                </a:solidFill>
                <a:latin typeface="+mn-lt"/>
                <a:ea typeface="+mn-ea"/>
                <a:cs typeface="+mn-cs"/>
              </a:defRPr>
            </a:lvl1pPr>
            <a:lvl2pPr marL="457200" indent="-228600" rtl="0">
              <a:defRPr lang="en-US" sz="1600" kern="1200" dirty="0" smtClean="0">
                <a:solidFill>
                  <a:schemeClr val="tx1"/>
                </a:solidFill>
                <a:latin typeface="+mn-lt"/>
                <a:ea typeface="+mn-ea"/>
                <a:cs typeface="+mn-cs"/>
              </a:defRPr>
            </a:lvl2pPr>
            <a:lvl3pPr marL="682625" indent="-225425" rtl="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rtl="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6175" indent="-231775" rtl="0">
              <a:buFont typeface="Wingdings" panose="05000000000000000000" pitchFamily="2" charset="2"/>
              <a:buChar char="§"/>
              <a:defRPr lang="en-US" sz="1600" kern="1200" dirty="0">
                <a:solidFill>
                  <a:schemeClr val="tx1"/>
                </a:solidFill>
                <a:latin typeface="+mn-lt"/>
                <a:ea typeface="+mn-ea"/>
                <a:cs typeface="+mn-cs"/>
              </a:defRPr>
            </a:lvl5pPr>
          </a:lstStyle>
          <a:p>
            <a:pPr marL="228600" marR="0" lvl="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01999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291941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2" name="think-cell Slide" r:id="rId4" imgW="425" imgH="424" progId="TCLayout.ActiveDocument.1">
                  <p:embed/>
                </p:oleObj>
              </mc:Choice>
              <mc:Fallback>
                <p:oleObj name="think-cell Slide" r:id="rId4" imgW="425" imgH="42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dirty="0"/>
              <a:t>Click to edit Master title style</a:t>
            </a:r>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rtl="0">
              <a:buFont typeface="Wingdings" panose="05000000000000000000" pitchFamily="2" charset="2"/>
              <a:buChar char="§"/>
              <a:defRPr lang="en-US" sz="1600" kern="1200" dirty="0" smtClean="0">
                <a:solidFill>
                  <a:schemeClr val="tx1"/>
                </a:solidFill>
                <a:latin typeface="+mn-lt"/>
                <a:ea typeface="+mn-ea"/>
                <a:cs typeface="+mn-cs"/>
              </a:defRPr>
            </a:lvl1pPr>
            <a:lvl2pPr marL="457200" marR="0"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sz="1600"/>
            </a:lvl2pPr>
            <a:lvl3pPr marL="685800" indent="-228600" rtl="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rtl="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rtl="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13357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12DEE37E-ECEA-408E-A969-4E7EA49F342C}"/>
              </a:ext>
            </a:extLst>
          </p:cNvPr>
          <p:cNvGraphicFramePr>
            <a:graphicFrameLocks noChangeAspect="1"/>
          </p:cNvGraphicFramePr>
          <p:nvPr userDrawn="1">
            <p:custDataLst>
              <p:tags r:id="rId2"/>
            </p:custDataLst>
            <p:extLst>
              <p:ext uri="{D42A27DB-BD31-4B8C-83A1-F6EECF244321}">
                <p14:modId xmlns:p14="http://schemas.microsoft.com/office/powerpoint/2010/main" val="379021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6"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xmlns="" id="{12DEE37E-ECEA-408E-A969-4E7EA49F34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dirty="0"/>
              <a:t>Click to edit Master title style</a:t>
            </a:r>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rtl="0">
              <a:defRPr lang="en-US" sz="1600" kern="1200" dirty="0" smtClean="0">
                <a:solidFill>
                  <a:schemeClr val="tx1"/>
                </a:solidFill>
                <a:latin typeface="+mn-lt"/>
                <a:ea typeface="+mn-ea"/>
                <a:cs typeface="+mn-cs"/>
              </a:defRPr>
            </a:lvl1pPr>
            <a:lvl2pPr rtl="0">
              <a:defRPr sz="1600"/>
            </a:lvl2pPr>
            <a:lvl3pPr marL="685800" indent="-228600" rtl="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rtl="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rtl="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343026"/>
            <a:ext cx="5499100" cy="4645024"/>
          </a:xfrm>
          <a:prstGeom prst="rect">
            <a:avLst/>
          </a:prstGeom>
        </p:spPr>
        <p:txBody>
          <a:bodyPr>
            <a:noAutofit/>
          </a:bodyPr>
          <a:lstStyle>
            <a:lvl1pPr marL="228600" indent="-228600" rtl="0">
              <a:defRPr lang="en-US" sz="1600" kern="1200" dirty="0" smtClean="0">
                <a:solidFill>
                  <a:schemeClr val="tx1"/>
                </a:solidFill>
                <a:latin typeface="+mn-lt"/>
                <a:ea typeface="+mn-ea"/>
                <a:cs typeface="+mn-cs"/>
              </a:defRPr>
            </a:lvl1pPr>
            <a:lvl2pPr marL="457200" indent="-228600" rtl="0">
              <a:buFont typeface="Arial" panose="020B0604020202020204" pitchFamily="34" charset="0"/>
              <a:buChar char="–"/>
              <a:defRPr sz="1600"/>
            </a:lvl2pPr>
            <a:lvl3pPr marL="685800" indent="-228600" rtl="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rtl="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rtl="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77363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E35706D4-6077-4DE6-8208-B6CD68B4A895}"/>
              </a:ext>
            </a:extLst>
          </p:cNvPr>
          <p:cNvGraphicFramePr>
            <a:graphicFrameLocks noChangeAspect="1"/>
          </p:cNvGraphicFramePr>
          <p:nvPr userDrawn="1">
            <p:custDataLst>
              <p:tags r:id="rId2"/>
            </p:custDataLst>
            <p:extLst>
              <p:ext uri="{D42A27DB-BD31-4B8C-83A1-F6EECF244321}">
                <p14:modId xmlns:p14="http://schemas.microsoft.com/office/powerpoint/2010/main" val="3606859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0"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E35706D4-6077-4DE6-8208-B6CD68B4A8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dirty="0"/>
              <a:t>Click to edit Master title style</a:t>
            </a:r>
          </a:p>
        </p:txBody>
      </p:sp>
      <p:sp>
        <p:nvSpPr>
          <p:cNvPr id="12" name="Text Placeholder 11"/>
          <p:cNvSpPr>
            <a:spLocks noGrp="1"/>
          </p:cNvSpPr>
          <p:nvPr>
            <p:ph type="body" sz="quarter" idx="13" hasCustomPrompt="1"/>
          </p:nvPr>
        </p:nvSpPr>
        <p:spPr>
          <a:xfrm>
            <a:off x="457200" y="1343025"/>
            <a:ext cx="3336925" cy="4645025"/>
          </a:xfrm>
          <a:prstGeom prst="rect">
            <a:avLst/>
          </a:prstGeom>
        </p:spPr>
        <p:txBody>
          <a:bodyPr>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4" hasCustomPrompt="1"/>
          </p:nvPr>
        </p:nvSpPr>
        <p:spPr>
          <a:xfrm>
            <a:off x="4426744" y="1343024"/>
            <a:ext cx="3336925" cy="4645025"/>
          </a:xfrm>
          <a:prstGeom prst="rect">
            <a:avLst/>
          </a:prstGeom>
        </p:spPr>
        <p:txBody>
          <a:bodyPr>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5" hasCustomPrompt="1"/>
          </p:nvPr>
        </p:nvSpPr>
        <p:spPr>
          <a:xfrm>
            <a:off x="8396288" y="1343023"/>
            <a:ext cx="3336925" cy="4645025"/>
          </a:xfrm>
          <a:prstGeom prst="rect">
            <a:avLst/>
          </a:prstGeom>
        </p:spPr>
        <p:txBody>
          <a:bodyPr>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04682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8B05EA6-9006-4CDE-AE18-FAFEF1DE5220}"/>
              </a:ext>
            </a:extLst>
          </p:cNvPr>
          <p:cNvGraphicFramePr>
            <a:graphicFrameLocks noChangeAspect="1"/>
          </p:cNvGraphicFramePr>
          <p:nvPr userDrawn="1">
            <p:custDataLst>
              <p:tags r:id="rId2"/>
            </p:custDataLst>
            <p:extLst>
              <p:ext uri="{D42A27DB-BD31-4B8C-83A1-F6EECF244321}">
                <p14:modId xmlns:p14="http://schemas.microsoft.com/office/powerpoint/2010/main" val="433479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4"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xmlns="" id="{28B05EA6-9006-4CDE-AE18-FAFEF1DE52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11"/>
          <p:cNvSpPr>
            <a:spLocks noGrp="1"/>
          </p:cNvSpPr>
          <p:nvPr>
            <p:ph type="body" sz="quarter" idx="18" hasCustomPrompt="1"/>
          </p:nvPr>
        </p:nvSpPr>
        <p:spPr>
          <a:xfrm>
            <a:off x="457200" y="1343025"/>
            <a:ext cx="3336925" cy="4645025"/>
          </a:xfrm>
          <a:prstGeom prst="rect">
            <a:avLst/>
          </a:prstGeom>
          <a:solidFill>
            <a:srgbClr val="F4F4F4"/>
          </a:solidFill>
        </p:spPr>
        <p:txBody>
          <a:bodyPr lIns="182880" tIns="182880" rIns="91440" bIns="182880">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vert="horz"/>
          <a:lstStyle>
            <a:lvl1pPr rtl="0">
              <a:defRPr/>
            </a:lvl1pPr>
          </a:lstStyle>
          <a:p>
            <a:r>
              <a:rPr lang="en-US" dirty="0"/>
              <a:t>Click to edit Master title style</a:t>
            </a:r>
          </a:p>
        </p:txBody>
      </p:sp>
      <p:sp>
        <p:nvSpPr>
          <p:cNvPr id="6" name="Text Placeholder 11"/>
          <p:cNvSpPr>
            <a:spLocks noGrp="1"/>
          </p:cNvSpPr>
          <p:nvPr>
            <p:ph type="body" sz="quarter" idx="19" hasCustomPrompt="1"/>
          </p:nvPr>
        </p:nvSpPr>
        <p:spPr>
          <a:xfrm>
            <a:off x="4426743" y="1343024"/>
            <a:ext cx="3336925" cy="4645025"/>
          </a:xfrm>
          <a:prstGeom prst="rect">
            <a:avLst/>
          </a:prstGeom>
          <a:solidFill>
            <a:srgbClr val="F4F4F4"/>
          </a:solidFill>
        </p:spPr>
        <p:txBody>
          <a:bodyPr lIns="182880" tIns="182880" rIns="91440" bIns="182880">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20" hasCustomPrompt="1"/>
          </p:nvPr>
        </p:nvSpPr>
        <p:spPr>
          <a:xfrm>
            <a:off x="8396286" y="1343025"/>
            <a:ext cx="3336925" cy="4645025"/>
          </a:xfrm>
          <a:prstGeom prst="rect">
            <a:avLst/>
          </a:prstGeom>
          <a:solidFill>
            <a:srgbClr val="F4F4F4"/>
          </a:solidFill>
        </p:spPr>
        <p:txBody>
          <a:bodyPr lIns="182880" tIns="182880" rIns="91440" bIns="182880">
            <a:noAutofit/>
          </a:bodyPr>
          <a:lstStyle>
            <a:lvl1pPr marL="0" indent="0" rtl="0">
              <a:buNone/>
              <a:defRPr sz="1600" b="1"/>
            </a:lvl1pPr>
            <a:lvl2pPr marL="228600" indent="-228600" rtl="0">
              <a:buClr>
                <a:schemeClr val="tx2"/>
              </a:buClr>
              <a:buFont typeface="Wingdings" panose="05000000000000000000" pitchFamily="2" charset="2"/>
              <a:buChar char="§"/>
              <a:defRPr sz="1600"/>
            </a:lvl2pPr>
            <a:lvl3pPr marL="457200" indent="-228600" rtl="0">
              <a:buSzPct val="100000"/>
              <a:buFont typeface="Arial" panose="020B0604020202020204" pitchFamily="34" charset="0"/>
              <a:buChar char="–"/>
              <a:defRPr sz="1600"/>
            </a:lvl3pPr>
            <a:lvl4pPr marL="685800" indent="-228600" rtl="0">
              <a:buFont typeface="Wingdings" panose="05000000000000000000" pitchFamily="2" charset="2"/>
              <a:buChar char="§"/>
              <a:defRPr sz="1600"/>
            </a:lvl4pPr>
            <a:lvl5pPr marL="914400" indent="-228600" rtl="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5809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oleObject" Target="../embeddings/oleObject16.bin"/><Relationship Id="rId2" Type="http://schemas.openxmlformats.org/officeDocument/2006/relationships/slideLayout" Target="../slideLayouts/slideLayout17.xml"/><Relationship Id="rId16" Type="http://schemas.openxmlformats.org/officeDocument/2006/relationships/tags" Target="../tags/tag2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tags" Target="../tags/tag20.xml"/><Relationship Id="rId10" Type="http://schemas.openxmlformats.org/officeDocument/2006/relationships/slideLayout" Target="../slideLayouts/slideLayout25.xml"/><Relationship Id="rId19" Type="http://schemas.openxmlformats.org/officeDocument/2006/relationships/image" Target="../media/image5.png"/><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vmlDrawing" Target="../drawings/vmlDrawing16.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vmlDrawing" Target="../drawings/vmlDrawing28.vml"/><Relationship Id="rId17" Type="http://schemas.openxmlformats.org/officeDocument/2006/relationships/image" Target="../media/image2.png"/><Relationship Id="rId2" Type="http://schemas.openxmlformats.org/officeDocument/2006/relationships/slideLayout" Target="../slideLayouts/slideLayout29.xml"/><Relationship Id="rId16" Type="http://schemas.openxmlformats.org/officeDocument/2006/relationships/image" Target="../media/image1.emf"/><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heme" Target="../theme/theme3.xml"/><Relationship Id="rId5" Type="http://schemas.openxmlformats.org/officeDocument/2006/relationships/slideLayout" Target="../slideLayouts/slideLayout32.xml"/><Relationship Id="rId15" Type="http://schemas.openxmlformats.org/officeDocument/2006/relationships/oleObject" Target="../embeddings/oleObject28.bin"/><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ags" Target="../tags/tag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ags" Target="../tags/tag47.xml"/><Relationship Id="rId18" Type="http://schemas.openxmlformats.org/officeDocument/2006/relationships/image" Target="../media/image5.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vmlDrawing" Target="../drawings/vmlDrawing39.vml"/><Relationship Id="rId17" Type="http://schemas.openxmlformats.org/officeDocument/2006/relationships/image" Target="../media/image6.png"/><Relationship Id="rId2" Type="http://schemas.openxmlformats.org/officeDocument/2006/relationships/slideLayout" Target="../slideLayouts/slideLayout39.xml"/><Relationship Id="rId16" Type="http://schemas.openxmlformats.org/officeDocument/2006/relationships/image" Target="../media/image1.emf"/><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theme" Target="../theme/theme4.xml"/><Relationship Id="rId5" Type="http://schemas.openxmlformats.org/officeDocument/2006/relationships/slideLayout" Target="../slideLayouts/slideLayout42.xml"/><Relationship Id="rId15" Type="http://schemas.openxmlformats.org/officeDocument/2006/relationships/oleObject" Target="../embeddings/oleObject39.bin"/><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tags" Target="../tags/tag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8"/>
            </p:custDataLst>
            <p:extLst>
              <p:ext uri="{D42A27DB-BD31-4B8C-83A1-F6EECF244321}">
                <p14:modId xmlns:p14="http://schemas.microsoft.com/office/powerpoint/2010/main" val="8268821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2" name="think-cell Slide" r:id="rId20" imgW="425" imgH="424" progId="TCLayout.ActiveDocument.1">
                  <p:embed/>
                </p:oleObj>
              </mc:Choice>
              <mc:Fallback>
                <p:oleObj name="think-cell Slide" r:id="rId20" imgW="425" imgH="424" progId="TCLayout.ActiveDocument.1">
                  <p:embed/>
                  <p:pic>
                    <p:nvPicPr>
                      <p:cNvPr id="4" name="Object 3"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A2B236AE-A6D1-4AAB-8B3E-41360A12A2E1}"/>
              </a:ext>
            </a:extLst>
          </p:cNvPr>
          <p:cNvSpPr/>
          <p:nvPr userDrawn="1">
            <p:custDataLst>
              <p:tags r:id="rId19"/>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dirty="0"/>
              <a:t>Click to edit Master title style</a:t>
            </a:r>
          </a:p>
        </p:txBody>
      </p:sp>
      <p:sp>
        <p:nvSpPr>
          <p:cNvPr id="10" name="TextBox 9"/>
          <p:cNvSpPr txBox="1"/>
          <p:nvPr userDrawn="1"/>
        </p:nvSpPr>
        <p:spPr>
          <a:xfrm>
            <a:off x="457201" y="6393120"/>
            <a:ext cx="7306732"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1 Gartner, Inc. and/or its affiliates. All rights reserved. </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 DISTRIBUTION</a:t>
            </a:r>
          </a:p>
        </p:txBody>
      </p:sp>
      <p:sp>
        <p:nvSpPr>
          <p:cNvPr id="6" name="Text Placeholder 5">
            <a:extLst>
              <a:ext uri="{FF2B5EF4-FFF2-40B4-BE49-F238E27FC236}">
                <a16:creationId xmlns:a16="http://schemas.microsoft.com/office/drawing/2014/main" xmlns="" id="{492923CD-93EF-45F2-B762-E8E3A8995719}"/>
              </a:ext>
            </a:extLst>
          </p:cNvPr>
          <p:cNvSpPr>
            <a:spLocks noGrp="1"/>
          </p:cNvSpPr>
          <p:nvPr>
            <p:ph type="body" idx="1"/>
          </p:nvPr>
        </p:nvSpPr>
        <p:spPr>
          <a:xfrm>
            <a:off x="457200" y="1343024"/>
            <a:ext cx="11276012" cy="4645025"/>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10">
            <a:extLst>
              <a:ext uri="{FF2B5EF4-FFF2-40B4-BE49-F238E27FC236}">
                <a16:creationId xmlns:a16="http://schemas.microsoft.com/office/drawing/2014/main" xmlns="" id="{8290FCA0-5FF6-452C-ADA6-0836A508AF5B}"/>
              </a:ext>
            </a:extLst>
          </p:cNvPr>
          <p:cNvPicPr>
            <a:picLocks noChangeAspect="1"/>
          </p:cNvPicPr>
          <p:nvPr userDrawn="1"/>
        </p:nvPicPr>
        <p:blipFill>
          <a:blip r:embed="rId22"/>
          <a:stretch>
            <a:fillRect/>
          </a:stretch>
        </p:blipFill>
        <p:spPr>
          <a:xfrm>
            <a:off x="10451592" y="6245352"/>
            <a:ext cx="1272543" cy="291085"/>
          </a:xfrm>
          <a:prstGeom prst="rect">
            <a:avLst/>
          </a:prstGeom>
        </p:spPr>
      </p:pic>
    </p:spTree>
    <p:extLst>
      <p:ext uri="{BB962C8B-B14F-4D97-AF65-F5344CB8AC3E}">
        <p14:creationId xmlns:p14="http://schemas.microsoft.com/office/powerpoint/2010/main" val="3362298311"/>
      </p:ext>
    </p:extLst>
  </p:cSld>
  <p:clrMap bg1="lt1" tx1="dk1" bg2="lt2" tx2="dk2" accent1="accent1" accent2="accent2" accent3="accent3" accent4="accent4" accent5="accent5" accent6="accent6" hlink="hlink" folHlink="folHlink"/>
  <p:sldLayoutIdLst>
    <p:sldLayoutId id="2147483745" r:id="rId1"/>
    <p:sldLayoutId id="2147483786" r:id="rId2"/>
    <p:sldLayoutId id="2147483751" r:id="rId3"/>
    <p:sldLayoutId id="2147483750" r:id="rId4"/>
    <p:sldLayoutId id="2147483746" r:id="rId5"/>
    <p:sldLayoutId id="2147483759" r:id="rId6"/>
    <p:sldLayoutId id="2147483748" r:id="rId7"/>
    <p:sldLayoutId id="2147483761" r:id="rId8"/>
    <p:sldLayoutId id="2147483762" r:id="rId9"/>
    <p:sldLayoutId id="2147483763" r:id="rId10"/>
    <p:sldLayoutId id="2147483764" r:id="rId11"/>
    <p:sldLayoutId id="2147483788" r:id="rId12"/>
    <p:sldLayoutId id="2147483789" r:id="rId13"/>
    <p:sldLayoutId id="2147483790" r:id="rId14"/>
    <p:sldLayoutId id="2147483792" r:id="rId15"/>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2625" indent="-22542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lang="en-US" sz="1600" kern="1200" dirty="0">
          <a:solidFill>
            <a:schemeClr val="tx1"/>
          </a:solidFill>
          <a:latin typeface="+mn-lt"/>
          <a:ea typeface="+mn-ea"/>
          <a:cs typeface="+mn-cs"/>
        </a:defRPr>
      </a:lvl4pPr>
      <a:lvl5pPr marL="1146175" indent="-23177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3" pos="288" userDrawn="1">
          <p15:clr>
            <a:srgbClr val="5ACBF0"/>
          </p15:clr>
        </p15:guide>
        <p15:guide id="4" orient="horz" pos="2160" userDrawn="1">
          <p15:clr>
            <a:srgbClr val="A4A3A4"/>
          </p15:clr>
        </p15:guide>
        <p15:guide id="5" orient="horz" pos="231" userDrawn="1">
          <p15:clr>
            <a:srgbClr val="5ACBF0"/>
          </p15:clr>
        </p15:guide>
        <p15:guide id="6" pos="7391" userDrawn="1">
          <p15:clr>
            <a:srgbClr val="5ACBF0"/>
          </p15:clr>
        </p15:guide>
        <p15:guide id="7" orient="horz" pos="3772" userDrawn="1">
          <p15:clr>
            <a:srgbClr val="FBAE40"/>
          </p15:clr>
        </p15:guide>
        <p15:guide id="9" orient="horz" pos="4110" userDrawn="1">
          <p15:clr>
            <a:srgbClr val="5ACBF0"/>
          </p15:clr>
        </p15:guide>
        <p15:guide id="10" orient="horz" pos="537" userDrawn="1">
          <p15:clr>
            <a:srgbClr val="FDE53C"/>
          </p15:clr>
        </p15:guide>
        <p15:guide id="11" orient="horz" pos="846" userDrawn="1">
          <p15:clr>
            <a:srgbClr val="FDE53C"/>
          </p15:clr>
        </p15:guide>
        <p15:guide id="12" orient="horz" pos="962" userDrawn="1">
          <p15:clr>
            <a:srgbClr val="5ACBF0"/>
          </p15:clr>
        </p15:guide>
        <p15:guide id="13" orient="horz" pos="4032" userDrawn="1">
          <p15:clr>
            <a:srgbClr val="5ACBF0"/>
          </p15:clr>
        </p15:guide>
        <p15:guide id="14" pos="3752" userDrawn="1">
          <p15:clr>
            <a:srgbClr val="5ACBF0"/>
          </p15:clr>
        </p15:guide>
        <p15:guide id="15" pos="3927" userDrawn="1">
          <p15:clr>
            <a:srgbClr val="5ACBF0"/>
          </p15:clr>
        </p15:guide>
        <p15:guide id="16" orient="horz" pos="3947"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38886FD-978F-4664-9726-5E0E2E511804}"/>
              </a:ext>
            </a:extLst>
          </p:cNvPr>
          <p:cNvGraphicFramePr>
            <a:graphicFrameLocks noChangeAspect="1"/>
          </p:cNvGraphicFramePr>
          <p:nvPr userDrawn="1">
            <p:custDataLst>
              <p:tags r:id="rId15"/>
            </p:custDataLst>
            <p:extLst>
              <p:ext uri="{D42A27DB-BD31-4B8C-83A1-F6EECF244321}">
                <p14:modId xmlns:p14="http://schemas.microsoft.com/office/powerpoint/2010/main" val="2955739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2" name="think-cell Slide" r:id="rId17" imgW="425" imgH="424" progId="TCLayout.ActiveDocument.1">
                  <p:embed/>
                </p:oleObj>
              </mc:Choice>
              <mc:Fallback>
                <p:oleObj name="think-cell Slide" r:id="rId17" imgW="425" imgH="424" progId="TCLayout.ActiveDocument.1">
                  <p:embed/>
                  <p:pic>
                    <p:nvPicPr>
                      <p:cNvPr id="5" name="Object 4" hidden="1">
                        <a:extLst>
                          <a:ext uri="{FF2B5EF4-FFF2-40B4-BE49-F238E27FC236}">
                            <a16:creationId xmlns:a16="http://schemas.microsoft.com/office/drawing/2014/main" xmlns="" id="{B38886FD-978F-4664-9726-5E0E2E511804}"/>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78FF2085-C899-4FAF-94E8-78EDD1B5577B}"/>
              </a:ext>
            </a:extLst>
          </p:cNvPr>
          <p:cNvSpPr/>
          <p:nvPr userDrawn="1">
            <p:custDataLst>
              <p:tags r:id="rId16"/>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b="0" kern="1200" smtClean="0">
                <a:solidFill>
                  <a:schemeClr val="tx1"/>
                </a:solidFill>
                <a:latin typeface="+mn-lt"/>
                <a:ea typeface="+mn-ea"/>
                <a:cs typeface="+mn-cs"/>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b="0" kern="1200" dirty="0">
                <a:solidFill>
                  <a:schemeClr val="tx1"/>
                </a:solidFill>
                <a:latin typeface="+mn-lt"/>
                <a:ea typeface="+mn-ea"/>
                <a:cs typeface="+mn-cs"/>
              </a:rPr>
              <a:t>	© 2021 Gartner, Inc. and/or its affiliates. All rights reserved. </a:t>
            </a:r>
          </a:p>
        </p:txBody>
      </p:sp>
      <p:sp>
        <p:nvSpPr>
          <p:cNvPr id="11" name="TextBox 10"/>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 DISTRIBUTION</a:t>
            </a:r>
          </a:p>
        </p:txBody>
      </p:sp>
      <p:sp>
        <p:nvSpPr>
          <p:cNvPr id="6" name="Text Placeholder 5">
            <a:extLst>
              <a:ext uri="{FF2B5EF4-FFF2-40B4-BE49-F238E27FC236}">
                <a16:creationId xmlns:a16="http://schemas.microsoft.com/office/drawing/2014/main" xmlns="" id="{9F4C5261-7EA3-48B6-9555-61345F0D26AF}"/>
              </a:ext>
            </a:extLst>
          </p:cNvPr>
          <p:cNvSpPr>
            <a:spLocks noGrp="1"/>
          </p:cNvSpPr>
          <p:nvPr>
            <p:ph type="body" idx="1"/>
          </p:nvPr>
        </p:nvSpPr>
        <p:spPr>
          <a:xfrm>
            <a:off x="457200" y="1343025"/>
            <a:ext cx="11276012"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xmlns="" id="{8FFD9961-B054-46E1-8C9C-58640BDF07D7}"/>
              </a:ext>
            </a:extLst>
          </p:cNvPr>
          <p:cNvPicPr>
            <a:picLocks noChangeAspect="1"/>
          </p:cNvPicPr>
          <p:nvPr userDrawn="1"/>
        </p:nvPicPr>
        <p:blipFill>
          <a:blip r:embed="rId19"/>
          <a:stretch>
            <a:fillRect/>
          </a:stretch>
        </p:blipFill>
        <p:spPr>
          <a:xfrm>
            <a:off x="10451592" y="6245352"/>
            <a:ext cx="1271653" cy="290528"/>
          </a:xfrm>
          <a:prstGeom prst="rect">
            <a:avLst/>
          </a:prstGeom>
        </p:spPr>
      </p:pic>
    </p:spTree>
    <p:extLst>
      <p:ext uri="{BB962C8B-B14F-4D97-AF65-F5344CB8AC3E}">
        <p14:creationId xmlns:p14="http://schemas.microsoft.com/office/powerpoint/2010/main" val="2025644939"/>
      </p:ext>
    </p:extLst>
  </p:cSld>
  <p:clrMap bg1="dk1" tx1="lt1" bg2="dk2" tx2="lt2" accent1="accent1" accent2="accent2" accent3="accent3" accent4="accent4" accent5="accent5" accent6="accent6" hlink="hlink" folHlink="folHlink"/>
  <p:sldLayoutIdLst>
    <p:sldLayoutId id="2147483799" r:id="rId1"/>
    <p:sldLayoutId id="2147483800" r:id="rId2"/>
    <p:sldLayoutId id="2147483801" r:id="rId3"/>
    <p:sldLayoutId id="2147483803" r:id="rId4"/>
    <p:sldLayoutId id="2147483802" r:id="rId5"/>
    <p:sldLayoutId id="2147483804" r:id="rId6"/>
    <p:sldLayoutId id="2147483805" r:id="rId7"/>
    <p:sldLayoutId id="2147483806" r:id="rId8"/>
    <p:sldLayoutId id="2147483807" r:id="rId9"/>
    <p:sldLayoutId id="2147483809" r:id="rId10"/>
    <p:sldLayoutId id="2147483810" r:id="rId11"/>
    <p:sldLayoutId id="2147483812" r:id="rId12"/>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61963"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4213"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4588"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userDrawn="1">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FDAA6AF-6A23-401B-B993-BD5391245122}"/>
              </a:ext>
            </a:extLst>
          </p:cNvPr>
          <p:cNvGraphicFramePr>
            <a:graphicFrameLocks noChangeAspect="1"/>
          </p:cNvGraphicFramePr>
          <p:nvPr userDrawn="1">
            <p:custDataLst>
              <p:tags r:id="rId13"/>
            </p:custDataLst>
            <p:extLst>
              <p:ext uri="{D42A27DB-BD31-4B8C-83A1-F6EECF244321}">
                <p14:modId xmlns:p14="http://schemas.microsoft.com/office/powerpoint/2010/main" val="3434232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0" name="think-cell Slide" r:id="rId15" imgW="425" imgH="424" progId="TCLayout.ActiveDocument.1">
                  <p:embed/>
                </p:oleObj>
              </mc:Choice>
              <mc:Fallback>
                <p:oleObj name="think-cell Slide" r:id="rId15" imgW="425" imgH="424" progId="TCLayout.ActiveDocument.1">
                  <p:embed/>
                  <p:pic>
                    <p:nvPicPr>
                      <p:cNvPr id="5" name="Object 4" hidden="1">
                        <a:extLst>
                          <a:ext uri="{FF2B5EF4-FFF2-40B4-BE49-F238E27FC236}">
                            <a16:creationId xmlns:a16="http://schemas.microsoft.com/office/drawing/2014/main" xmlns="" id="{6FDAA6AF-6A23-401B-B993-BD539124512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D2EDD689-8B08-462B-97D1-FF663F840475}"/>
              </a:ext>
            </a:extLst>
          </p:cNvPr>
          <p:cNvSpPr/>
          <p:nvPr userDrawn="1">
            <p:custDataLst>
              <p:tags r:id="rId14"/>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1 Gartner, Inc. and/or its affiliates. All rights reserved. </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 DISTRIBUTION</a:t>
            </a:r>
          </a:p>
        </p:txBody>
      </p:sp>
      <p:sp>
        <p:nvSpPr>
          <p:cNvPr id="6" name="Text Placeholder 5">
            <a:extLst>
              <a:ext uri="{FF2B5EF4-FFF2-40B4-BE49-F238E27FC236}">
                <a16:creationId xmlns:a16="http://schemas.microsoft.com/office/drawing/2014/main" xmlns="" id="{DC37BA0C-211D-4AFF-AB06-0AF99A18EBAD}"/>
              </a:ext>
            </a:extLst>
          </p:cNvPr>
          <p:cNvSpPr>
            <a:spLocks noGrp="1"/>
          </p:cNvSpPr>
          <p:nvPr>
            <p:ph type="body" idx="1"/>
          </p:nvPr>
        </p:nvSpPr>
        <p:spPr>
          <a:xfrm>
            <a:off x="457199" y="1343025"/>
            <a:ext cx="11276013"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xmlns="" id="{07F0ED33-44D8-4D2A-A5AB-E69C844B193A}"/>
              </a:ext>
            </a:extLst>
          </p:cNvPr>
          <p:cNvPicPr>
            <a:picLocks noChangeAspect="1"/>
          </p:cNvPicPr>
          <p:nvPr userDrawn="1"/>
        </p:nvPicPr>
        <p:blipFill>
          <a:blip r:embed="rId17"/>
          <a:stretch>
            <a:fillRect/>
          </a:stretch>
        </p:blipFill>
        <p:spPr>
          <a:xfrm>
            <a:off x="10451592" y="6245352"/>
            <a:ext cx="1272543" cy="291085"/>
          </a:xfrm>
          <a:prstGeom prst="rect">
            <a:avLst/>
          </a:prstGeom>
        </p:spPr>
      </p:pic>
    </p:spTree>
    <p:extLst>
      <p:ext uri="{BB962C8B-B14F-4D97-AF65-F5344CB8AC3E}">
        <p14:creationId xmlns:p14="http://schemas.microsoft.com/office/powerpoint/2010/main" val="520007369"/>
      </p:ext>
    </p:extLst>
  </p:cSld>
  <p:clrMap bg1="lt1" tx1="dk1" bg2="lt2" tx2="dk2" accent1="accent1" accent2="accent2" accent3="accent3" accent4="accent4" accent5="accent5" accent6="accent6" hlink="hlink" folHlink="folHlink"/>
  <p:sldLayoutIdLst>
    <p:sldLayoutId id="2147483876" r:id="rId1"/>
    <p:sldLayoutId id="2147483834" r:id="rId2"/>
    <p:sldLayoutId id="2147483835" r:id="rId3"/>
    <p:sldLayoutId id="2147483836" r:id="rId4"/>
    <p:sldLayoutId id="2147483837" r:id="rId5"/>
    <p:sldLayoutId id="2147483877" r:id="rId6"/>
    <p:sldLayoutId id="2147483842" r:id="rId7"/>
    <p:sldLayoutId id="2147483843" r:id="rId8"/>
    <p:sldLayoutId id="2147483844" r:id="rId9"/>
    <p:sldLayoutId id="2147483845" r:id="rId10"/>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28" userDrawn="1">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1A28858B-6AE3-4146-A31F-F0BFC60DE7A5}"/>
              </a:ext>
            </a:extLst>
          </p:cNvPr>
          <p:cNvGraphicFramePr>
            <a:graphicFrameLocks noChangeAspect="1"/>
          </p:cNvGraphicFramePr>
          <p:nvPr userDrawn="1">
            <p:custDataLst>
              <p:tags r:id="rId13"/>
            </p:custDataLst>
            <p:extLst>
              <p:ext uri="{D42A27DB-BD31-4B8C-83A1-F6EECF244321}">
                <p14:modId xmlns:p14="http://schemas.microsoft.com/office/powerpoint/2010/main" val="3282030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4" name="think-cell Slide" r:id="rId15" imgW="425" imgH="424" progId="TCLayout.ActiveDocument.1">
                  <p:embed/>
                </p:oleObj>
              </mc:Choice>
              <mc:Fallback>
                <p:oleObj name="think-cell Slide" r:id="rId15" imgW="425" imgH="424" progId="TCLayout.ActiveDocument.1">
                  <p:embed/>
                  <p:pic>
                    <p:nvPicPr>
                      <p:cNvPr id="5" name="Object 4" hidden="1">
                        <a:extLst>
                          <a:ext uri="{FF2B5EF4-FFF2-40B4-BE49-F238E27FC236}">
                            <a16:creationId xmlns:a16="http://schemas.microsoft.com/office/drawing/2014/main" xmlns="" id="{1A28858B-6AE3-4146-A31F-F0BFC60DE7A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0688463C-6B6E-481D-8E82-20D4EFA0E809}"/>
              </a:ext>
            </a:extLst>
          </p:cNvPr>
          <p:cNvSpPr/>
          <p:nvPr userDrawn="1">
            <p:custDataLst>
              <p:tags r:id="rId14"/>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pic>
        <p:nvPicPr>
          <p:cNvPr id="14" name="Gartner Logo"/>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1 Gartner, Inc. and/or its affiliates. All rights reserved. .</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 DISTRIBUTION</a:t>
            </a:r>
          </a:p>
        </p:txBody>
      </p:sp>
      <p:sp>
        <p:nvSpPr>
          <p:cNvPr id="6" name="Text Placeholder 5">
            <a:extLst>
              <a:ext uri="{FF2B5EF4-FFF2-40B4-BE49-F238E27FC236}">
                <a16:creationId xmlns:a16="http://schemas.microsoft.com/office/drawing/2014/main" xmlns="" id="{E42ACDB8-7125-4F77-9A45-9D6189D992B9}"/>
              </a:ext>
            </a:extLst>
          </p:cNvPr>
          <p:cNvSpPr>
            <a:spLocks noGrp="1"/>
          </p:cNvSpPr>
          <p:nvPr>
            <p:ph type="body" idx="1"/>
          </p:nvPr>
        </p:nvSpPr>
        <p:spPr>
          <a:xfrm>
            <a:off x="457200" y="1343025"/>
            <a:ext cx="11276012"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xmlns="" id="{6211B762-A9E6-4AB1-A3BB-BD25B14110C1}"/>
              </a:ext>
            </a:extLst>
          </p:cNvPr>
          <p:cNvPicPr>
            <a:picLocks noChangeAspect="1"/>
          </p:cNvPicPr>
          <p:nvPr userDrawn="1"/>
        </p:nvPicPr>
        <p:blipFill>
          <a:blip r:embed="rId18"/>
          <a:stretch>
            <a:fillRect/>
          </a:stretch>
        </p:blipFill>
        <p:spPr>
          <a:xfrm>
            <a:off x="10451592" y="6245352"/>
            <a:ext cx="1271653" cy="290528"/>
          </a:xfrm>
          <a:prstGeom prst="rect">
            <a:avLst/>
          </a:prstGeom>
        </p:spPr>
      </p:pic>
    </p:spTree>
    <p:extLst>
      <p:ext uri="{BB962C8B-B14F-4D97-AF65-F5344CB8AC3E}">
        <p14:creationId xmlns:p14="http://schemas.microsoft.com/office/powerpoint/2010/main" val="3809325339"/>
      </p:ext>
    </p:extLst>
  </p:cSld>
  <p:clrMap bg1="dk1" tx1="lt1" bg2="dk2" tx2="lt2" accent1="accent1" accent2="accent2" accent3="accent3" accent4="accent4" accent5="accent5" accent6="accent6" hlink="hlink" folHlink="folHlink"/>
  <p:sldLayoutIdLst>
    <p:sldLayoutId id="2147483880" r:id="rId1"/>
    <p:sldLayoutId id="2147483855" r:id="rId2"/>
    <p:sldLayoutId id="2147483856" r:id="rId3"/>
    <p:sldLayoutId id="2147483857" r:id="rId4"/>
    <p:sldLayoutId id="2147483858" r:id="rId5"/>
    <p:sldLayoutId id="2147483881" r:id="rId6"/>
    <p:sldLayoutId id="2147483863" r:id="rId7"/>
    <p:sldLayoutId id="2147483864" r:id="rId8"/>
    <p:sldLayoutId id="2147483865" r:id="rId9"/>
    <p:sldLayoutId id="2147483866" r:id="rId10"/>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0" userDrawn="1">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3.xml"/><Relationship Id="rId7" Type="http://schemas.openxmlformats.org/officeDocument/2006/relationships/image" Target="../media/image7.png"/><Relationship Id="rId2" Type="http://schemas.openxmlformats.org/officeDocument/2006/relationships/tags" Target="../tags/tag61.xml"/><Relationship Id="rId1" Type="http://schemas.openxmlformats.org/officeDocument/2006/relationships/vmlDrawing" Target="../drawings/vmlDrawing51.vml"/><Relationship Id="rId6" Type="http://schemas.openxmlformats.org/officeDocument/2006/relationships/image" Target="../media/image3.emf"/><Relationship Id="rId5" Type="http://schemas.openxmlformats.org/officeDocument/2006/relationships/oleObject" Target="../embeddings/oleObject5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slideLayout" Target="../slideLayouts/slideLayout4.xml"/><Relationship Id="rId7" Type="http://schemas.openxmlformats.org/officeDocument/2006/relationships/image" Target="../media/image8.png"/><Relationship Id="rId2" Type="http://schemas.openxmlformats.org/officeDocument/2006/relationships/tags" Target="../tags/tag62.xml"/><Relationship Id="rId1" Type="http://schemas.openxmlformats.org/officeDocument/2006/relationships/vmlDrawing" Target="../drawings/vmlDrawing52.vml"/><Relationship Id="rId6" Type="http://schemas.openxmlformats.org/officeDocument/2006/relationships/image" Target="../media/image3.emf"/><Relationship Id="rId5" Type="http://schemas.openxmlformats.org/officeDocument/2006/relationships/oleObject" Target="../embeddings/oleObject52.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Layout" Target="../slideLayouts/slideLayout4.xml"/><Relationship Id="rId7" Type="http://schemas.openxmlformats.org/officeDocument/2006/relationships/image" Target="../media/image9.png"/><Relationship Id="rId2" Type="http://schemas.openxmlformats.org/officeDocument/2006/relationships/tags" Target="../tags/tag63.xml"/><Relationship Id="rId1" Type="http://schemas.openxmlformats.org/officeDocument/2006/relationships/vmlDrawing" Target="../drawings/vmlDrawing53.vml"/><Relationship Id="rId6" Type="http://schemas.openxmlformats.org/officeDocument/2006/relationships/image" Target="../media/image3.emf"/><Relationship Id="rId5" Type="http://schemas.openxmlformats.org/officeDocument/2006/relationships/oleObject" Target="../embeddings/oleObject53.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4.xml"/><Relationship Id="rId1" Type="http://schemas.openxmlformats.org/officeDocument/2006/relationships/vmlDrawing" Target="../drawings/vmlDrawing54.vml"/><Relationship Id="rId6" Type="http://schemas.openxmlformats.org/officeDocument/2006/relationships/image" Target="../media/image3.emf"/><Relationship Id="rId5" Type="http://schemas.openxmlformats.org/officeDocument/2006/relationships/oleObject" Target="../embeddings/oleObject54.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5.xml"/><Relationship Id="rId1" Type="http://schemas.openxmlformats.org/officeDocument/2006/relationships/vmlDrawing" Target="../drawings/vmlDrawing55.vml"/><Relationship Id="rId6" Type="http://schemas.openxmlformats.org/officeDocument/2006/relationships/image" Target="../media/image3.emf"/><Relationship Id="rId5" Type="http://schemas.openxmlformats.org/officeDocument/2006/relationships/oleObject" Target="../embeddings/oleObject55.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6.xml"/><Relationship Id="rId1" Type="http://schemas.openxmlformats.org/officeDocument/2006/relationships/vmlDrawing" Target="../drawings/vmlDrawing56.vml"/><Relationship Id="rId6" Type="http://schemas.openxmlformats.org/officeDocument/2006/relationships/image" Target="../media/image3.emf"/><Relationship Id="rId5" Type="http://schemas.openxmlformats.org/officeDocument/2006/relationships/oleObject" Target="../embeddings/oleObject56.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7.xml"/><Relationship Id="rId1" Type="http://schemas.openxmlformats.org/officeDocument/2006/relationships/vmlDrawing" Target="../drawings/vmlDrawing57.vml"/><Relationship Id="rId6" Type="http://schemas.openxmlformats.org/officeDocument/2006/relationships/image" Target="../media/image3.emf"/><Relationship Id="rId5" Type="http://schemas.openxmlformats.org/officeDocument/2006/relationships/oleObject" Target="../embeddings/oleObject57.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8.xml"/><Relationship Id="rId1" Type="http://schemas.openxmlformats.org/officeDocument/2006/relationships/vmlDrawing" Target="../drawings/vmlDrawing58.vml"/><Relationship Id="rId6" Type="http://schemas.openxmlformats.org/officeDocument/2006/relationships/image" Target="../media/image3.emf"/><Relationship Id="rId5" Type="http://schemas.openxmlformats.org/officeDocument/2006/relationships/oleObject" Target="../embeddings/oleObject58.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0A7C08B-4616-497F-8188-60AE5A6190C1}"/>
              </a:ext>
            </a:extLst>
          </p:cNvPr>
          <p:cNvGraphicFramePr>
            <a:graphicFrameLocks noChangeAspect="1"/>
          </p:cNvGraphicFramePr>
          <p:nvPr>
            <p:custDataLst>
              <p:tags r:id="rId2"/>
            </p:custDataLst>
            <p:extLst>
              <p:ext uri="{D42A27DB-BD31-4B8C-83A1-F6EECF244321}">
                <p14:modId xmlns:p14="http://schemas.microsoft.com/office/powerpoint/2010/main" val="1674386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8"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xmlns="" id="{60A7C08B-4616-497F-8188-60AE5A6190C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B7AEFAD7-CD91-4230-9093-435F6E176986}"/>
              </a:ext>
            </a:extLst>
          </p:cNvPr>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dirty="0">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ctrTitle"/>
          </p:nvPr>
        </p:nvSpPr>
        <p:spPr bwMode="gray"/>
        <p:txBody>
          <a:bodyPr vert="horz"/>
          <a:lstStyle/>
          <a:p>
            <a:r>
              <a:rPr lang="en-US" dirty="0"/>
              <a:t>Introduction to the IT Job Architecture</a:t>
            </a:r>
          </a:p>
        </p:txBody>
      </p:sp>
      <p:sp>
        <p:nvSpPr>
          <p:cNvPr id="6" name="Text Placeholder 6">
            <a:extLst>
              <a:ext uri="{FF2B5EF4-FFF2-40B4-BE49-F238E27FC236}">
                <a16:creationId xmlns:a16="http://schemas.microsoft.com/office/drawing/2014/main" xmlns="" id="{615BD1A8-65FF-EA48-9651-C1F24B39E22A}"/>
              </a:ext>
            </a:extLst>
          </p:cNvPr>
          <p:cNvSpPr>
            <a:spLocks noGrp="1"/>
          </p:cNvSpPr>
          <p:nvPr>
            <p:ph type="body" sz="quarter" idx="10"/>
          </p:nvPr>
        </p:nvSpPr>
        <p:spPr>
          <a:xfrm>
            <a:off x="2166861" y="3804785"/>
            <a:ext cx="4545024" cy="553998"/>
          </a:xfrm>
        </p:spPr>
        <p:txBody>
          <a:bodyPr/>
          <a:lstStyle/>
          <a:p>
            <a:endParaRPr lang="en-US" dirty="0"/>
          </a:p>
        </p:txBody>
      </p:sp>
    </p:spTree>
    <p:extLst>
      <p:ext uri="{BB962C8B-B14F-4D97-AF65-F5344CB8AC3E}">
        <p14:creationId xmlns:p14="http://schemas.microsoft.com/office/powerpoint/2010/main" val="36406885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FD33962-6CAD-4DF4-8C98-39E0CF960D47}"/>
              </a:ext>
            </a:extLst>
          </p:cNvPr>
          <p:cNvGraphicFramePr>
            <a:graphicFrameLocks noChangeAspect="1"/>
          </p:cNvGraphicFramePr>
          <p:nvPr>
            <p:custDataLst>
              <p:tags r:id="rId2"/>
            </p:custDataLst>
            <p:extLst>
              <p:ext uri="{D42A27DB-BD31-4B8C-83A1-F6EECF244321}">
                <p14:modId xmlns:p14="http://schemas.microsoft.com/office/powerpoint/2010/main" val="2472843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2"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xmlns="" id="{6FD33962-6CAD-4DF4-8C98-39E0CF960D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xmlns="" id="{707DD030-4392-451A-8282-3CA4B02FECC4}"/>
              </a:ext>
            </a:extLst>
          </p:cNvPr>
          <p:cNvSpPr/>
          <p:nvPr/>
        </p:nvSpPr>
        <p:spPr>
          <a:xfrm>
            <a:off x="0" y="0"/>
            <a:ext cx="12192000" cy="5988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10" name="Group 9">
            <a:extLst>
              <a:ext uri="{FF2B5EF4-FFF2-40B4-BE49-F238E27FC236}">
                <a16:creationId xmlns:a16="http://schemas.microsoft.com/office/drawing/2014/main" xmlns="" id="{3AA46715-26C4-4543-990C-4058791CCC93}"/>
              </a:ext>
            </a:extLst>
          </p:cNvPr>
          <p:cNvGrpSpPr/>
          <p:nvPr/>
        </p:nvGrpSpPr>
        <p:grpSpPr bwMode="gray">
          <a:xfrm>
            <a:off x="5956300" y="2078462"/>
            <a:ext cx="5776913" cy="2521326"/>
            <a:chOff x="5956300" y="2165188"/>
            <a:chExt cx="5776913" cy="2521326"/>
          </a:xfrm>
        </p:grpSpPr>
        <p:sp>
          <p:nvSpPr>
            <p:cNvPr id="7" name="Rectangle 6">
              <a:extLst>
                <a:ext uri="{FF2B5EF4-FFF2-40B4-BE49-F238E27FC236}">
                  <a16:creationId xmlns:a16="http://schemas.microsoft.com/office/drawing/2014/main" xmlns="" id="{F28A0FF2-ECCA-4D8D-AFFD-2B8B6BA18A17}"/>
                </a:ext>
              </a:extLst>
            </p:cNvPr>
            <p:cNvSpPr/>
            <p:nvPr/>
          </p:nvSpPr>
          <p:spPr bwMode="gray">
            <a:xfrm>
              <a:off x="5956301" y="2870632"/>
              <a:ext cx="5499099" cy="1815882"/>
            </a:xfrm>
            <a:prstGeom prst="rect">
              <a:avLst/>
            </a:prstGeom>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prstClr val="white"/>
                  </a:solidFill>
                  <a:effectLst/>
                  <a:uLnTx/>
                  <a:uFillTx/>
                </a:rPr>
                <a:t>A coherent and consistent approach to defining, organizing and integrating jobs and talent requirements</a:t>
              </a:r>
            </a:p>
          </p:txBody>
        </p:sp>
        <p:sp>
          <p:nvSpPr>
            <p:cNvPr id="8" name="TextBox 7">
              <a:extLst>
                <a:ext uri="{FF2B5EF4-FFF2-40B4-BE49-F238E27FC236}">
                  <a16:creationId xmlns:a16="http://schemas.microsoft.com/office/drawing/2014/main" xmlns="" id="{41B06A14-CE01-4E36-BC2C-389661C1BF61}"/>
                </a:ext>
              </a:extLst>
            </p:cNvPr>
            <p:cNvSpPr txBox="1"/>
            <p:nvPr/>
          </p:nvSpPr>
          <p:spPr bwMode="gray">
            <a:xfrm>
              <a:off x="5956300" y="2165188"/>
              <a:ext cx="5776913" cy="707886"/>
            </a:xfrm>
            <a:prstGeom prst="rect">
              <a:avLst/>
            </a:prstGeom>
            <a:noFill/>
          </p:spPr>
          <p:txBody>
            <a:bodyPr wrap="square" lIns="0" rtlCol="0">
              <a:spAutoFit/>
            </a:bodyPr>
            <a:lstStyle/>
            <a:p>
              <a:pPr defTabSz="457200"/>
              <a:r>
                <a:rPr lang="en-US" sz="4000" dirty="0">
                  <a:solidFill>
                    <a:srgbClr val="009AD7"/>
                  </a:solidFill>
                  <a:latin typeface="Arial Black"/>
                </a:rPr>
                <a:t>Job “Architecture”</a:t>
              </a:r>
              <a:endParaRPr lang="en-US" sz="4000" b="1" dirty="0">
                <a:solidFill>
                  <a:srgbClr val="009AD7"/>
                </a:solidFill>
                <a:latin typeface="Arial Black"/>
              </a:endParaRPr>
            </a:p>
          </p:txBody>
        </p:sp>
      </p:grpSp>
      <p:pic>
        <p:nvPicPr>
          <p:cNvPr id="12" name="Graphic 11">
            <a:extLst>
              <a:ext uri="{FF2B5EF4-FFF2-40B4-BE49-F238E27FC236}">
                <a16:creationId xmlns:a16="http://schemas.microsoft.com/office/drawing/2014/main" xmlns="" id="{448B3446-D7BF-4F62-BE68-F930D738D4CB}"/>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bwMode="gray">
          <a:xfrm>
            <a:off x="1533022" y="2009737"/>
            <a:ext cx="2942726" cy="2658778"/>
          </a:xfrm>
          <a:prstGeom prst="rect">
            <a:avLst/>
          </a:prstGeom>
        </p:spPr>
      </p:pic>
    </p:spTree>
    <p:extLst>
      <p:ext uri="{BB962C8B-B14F-4D97-AF65-F5344CB8AC3E}">
        <p14:creationId xmlns:p14="http://schemas.microsoft.com/office/powerpoint/2010/main" val="35977261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75872A62-DAF5-4DCF-B661-1FFEEEDD14EA}"/>
              </a:ext>
            </a:extLst>
          </p:cNvPr>
          <p:cNvGraphicFramePr>
            <a:graphicFrameLocks noChangeAspect="1"/>
          </p:cNvGraphicFramePr>
          <p:nvPr>
            <p:custDataLst>
              <p:tags r:id="rId2"/>
            </p:custDataLst>
            <p:extLst>
              <p:ext uri="{D42A27DB-BD31-4B8C-83A1-F6EECF244321}">
                <p14:modId xmlns:p14="http://schemas.microsoft.com/office/powerpoint/2010/main" val="824520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xmlns="" id="{75872A62-DAF5-4DCF-B661-1FFEEEDD14E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E34BC0B7-6290-4488-B81B-2F023ECDC198}"/>
              </a:ext>
            </a:extLst>
          </p:cNvPr>
          <p:cNvSpPr>
            <a:spLocks noGrp="1"/>
          </p:cNvSpPr>
          <p:nvPr>
            <p:ph type="title"/>
          </p:nvPr>
        </p:nvSpPr>
        <p:spPr/>
        <p:txBody>
          <a:bodyPr vert="horz"/>
          <a:lstStyle/>
          <a:p>
            <a:r>
              <a:rPr lang="en-US" dirty="0"/>
              <a:t>What Is an IT Job Architecture? </a:t>
            </a:r>
          </a:p>
        </p:txBody>
      </p:sp>
      <p:sp>
        <p:nvSpPr>
          <p:cNvPr id="8" name="TextBox 7">
            <a:extLst>
              <a:ext uri="{FF2B5EF4-FFF2-40B4-BE49-F238E27FC236}">
                <a16:creationId xmlns:a16="http://schemas.microsoft.com/office/drawing/2014/main" xmlns="" id="{8F50868C-5F77-4699-A8AE-5BDBC903D531}"/>
              </a:ext>
            </a:extLst>
          </p:cNvPr>
          <p:cNvSpPr txBox="1"/>
          <p:nvPr/>
        </p:nvSpPr>
        <p:spPr>
          <a:xfrm>
            <a:off x="1765300" y="1346200"/>
            <a:ext cx="9967913" cy="1015663"/>
          </a:xfrm>
          <a:prstGeom prst="rect">
            <a:avLst/>
          </a:prstGeom>
          <a:solidFill>
            <a:srgbClr val="002856"/>
          </a:solidFill>
        </p:spPr>
        <p:txBody>
          <a:bodyPr wrap="square" lIns="182880" tIns="91440" rIns="0" bIns="91440" rtlCol="0">
            <a:spAutoFit/>
          </a:bodyPr>
          <a:lstStyle/>
          <a:p>
            <a:r>
              <a:rPr lang="en-US" b="1" dirty="0">
                <a:solidFill>
                  <a:schemeClr val="bg1"/>
                </a:solidFill>
              </a:rPr>
              <a:t>An IT job architecture refers to the infrastructure or makeup of information and technology jobs within an organization, designed to support organizational effectiveness, career progression, strategic workforce planning and succession management. </a:t>
            </a:r>
          </a:p>
        </p:txBody>
      </p:sp>
      <p:sp>
        <p:nvSpPr>
          <p:cNvPr id="9" name="Rectangle 8">
            <a:extLst>
              <a:ext uri="{FF2B5EF4-FFF2-40B4-BE49-F238E27FC236}">
                <a16:creationId xmlns:a16="http://schemas.microsoft.com/office/drawing/2014/main" xmlns="" id="{AD0F069F-A2BD-4483-AF59-4FA049E5A837}"/>
              </a:ext>
            </a:extLst>
          </p:cNvPr>
          <p:cNvSpPr/>
          <p:nvPr/>
        </p:nvSpPr>
        <p:spPr>
          <a:xfrm>
            <a:off x="6226302" y="3513705"/>
            <a:ext cx="5505450" cy="2474345"/>
          </a:xfrm>
          <a:prstGeom prst="rect">
            <a:avLst/>
          </a:prstGeom>
          <a:noFill/>
          <a:ln w="19050">
            <a:solidFill>
              <a:srgbClr val="DE0A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 name="Rectangle 12">
            <a:extLst>
              <a:ext uri="{FF2B5EF4-FFF2-40B4-BE49-F238E27FC236}">
                <a16:creationId xmlns:a16="http://schemas.microsoft.com/office/drawing/2014/main" xmlns="" id="{CDD09258-B6B2-4FCC-A025-737A94D1C61C}"/>
              </a:ext>
            </a:extLst>
          </p:cNvPr>
          <p:cNvSpPr/>
          <p:nvPr/>
        </p:nvSpPr>
        <p:spPr>
          <a:xfrm>
            <a:off x="457200" y="3513705"/>
            <a:ext cx="5505450" cy="2474345"/>
          </a:xfrm>
          <a:prstGeom prst="rect">
            <a:avLst/>
          </a:prstGeom>
          <a:noFill/>
          <a:ln w="19050">
            <a:solidFill>
              <a:srgbClr val="00A7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19" name="Group 18">
            <a:extLst>
              <a:ext uri="{FF2B5EF4-FFF2-40B4-BE49-F238E27FC236}">
                <a16:creationId xmlns:a16="http://schemas.microsoft.com/office/drawing/2014/main" xmlns="" id="{7DBF2474-02DC-43FC-AFE7-A833918595C7}"/>
              </a:ext>
            </a:extLst>
          </p:cNvPr>
          <p:cNvGrpSpPr/>
          <p:nvPr/>
        </p:nvGrpSpPr>
        <p:grpSpPr>
          <a:xfrm flipH="1">
            <a:off x="2557364" y="3173929"/>
            <a:ext cx="7073507" cy="646331"/>
            <a:chOff x="2557364" y="1704976"/>
            <a:chExt cx="7073507" cy="646331"/>
          </a:xfrm>
        </p:grpSpPr>
        <p:grpSp>
          <p:nvGrpSpPr>
            <p:cNvPr id="10" name="Group 9">
              <a:extLst>
                <a:ext uri="{FF2B5EF4-FFF2-40B4-BE49-F238E27FC236}">
                  <a16:creationId xmlns:a16="http://schemas.microsoft.com/office/drawing/2014/main" xmlns="" id="{0FEB0793-AA74-43EA-8364-42DB7D40FB68}"/>
                </a:ext>
              </a:extLst>
            </p:cNvPr>
            <p:cNvGrpSpPr/>
            <p:nvPr/>
          </p:nvGrpSpPr>
          <p:grpSpPr>
            <a:xfrm>
              <a:off x="8327183" y="1704976"/>
              <a:ext cx="1303688" cy="646331"/>
              <a:chOff x="8137760" y="2241617"/>
              <a:chExt cx="1303688" cy="646331"/>
            </a:xfrm>
          </p:grpSpPr>
          <p:sp>
            <p:nvSpPr>
              <p:cNvPr id="11" name="Rectangle: Rounded Corners 10">
                <a:extLst>
                  <a:ext uri="{FF2B5EF4-FFF2-40B4-BE49-F238E27FC236}">
                    <a16:creationId xmlns:a16="http://schemas.microsoft.com/office/drawing/2014/main" xmlns="" id="{98926699-4D81-4161-B05C-327E5F8D1A5C}"/>
                  </a:ext>
                </a:extLst>
              </p:cNvPr>
              <p:cNvSpPr/>
              <p:nvPr/>
            </p:nvSpPr>
            <p:spPr>
              <a:xfrm>
                <a:off x="8137760" y="2241617"/>
                <a:ext cx="1303688" cy="646331"/>
              </a:xfrm>
              <a:prstGeom prst="roundRect">
                <a:avLst>
                  <a:gd name="adj" fmla="val 50000"/>
                </a:avLst>
              </a:prstGeom>
              <a:solidFill>
                <a:srgbClr val="00A7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 name="Oval 11">
                <a:extLst>
                  <a:ext uri="{FF2B5EF4-FFF2-40B4-BE49-F238E27FC236}">
                    <a16:creationId xmlns:a16="http://schemas.microsoft.com/office/drawing/2014/main" xmlns="" id="{0DD77822-0D17-44FD-BAB1-CF5E7117FBCB}"/>
                  </a:ext>
                </a:extLst>
              </p:cNvPr>
              <p:cNvSpPr/>
              <p:nvPr/>
            </p:nvSpPr>
            <p:spPr>
              <a:xfrm>
                <a:off x="8795117" y="2241617"/>
                <a:ext cx="646331" cy="646331"/>
              </a:xfrm>
              <a:prstGeom prst="ellipse">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solidFill>
                    <a:latin typeface="+mj-lt"/>
                  </a:rPr>
                  <a:t>Is</a:t>
                </a:r>
              </a:p>
            </p:txBody>
          </p:sp>
        </p:grpSp>
        <p:grpSp>
          <p:nvGrpSpPr>
            <p:cNvPr id="14" name="Group 13">
              <a:extLst>
                <a:ext uri="{FF2B5EF4-FFF2-40B4-BE49-F238E27FC236}">
                  <a16:creationId xmlns:a16="http://schemas.microsoft.com/office/drawing/2014/main" xmlns="" id="{DA8E534E-E1D0-478C-8A97-031663B7AEC3}"/>
                </a:ext>
              </a:extLst>
            </p:cNvPr>
            <p:cNvGrpSpPr/>
            <p:nvPr/>
          </p:nvGrpSpPr>
          <p:grpSpPr>
            <a:xfrm>
              <a:off x="2557364" y="1704976"/>
              <a:ext cx="1305122" cy="646331"/>
              <a:chOff x="1928967" y="2540000"/>
              <a:chExt cx="1305122" cy="646331"/>
            </a:xfrm>
          </p:grpSpPr>
          <p:sp>
            <p:nvSpPr>
              <p:cNvPr id="15" name="Rectangle: Rounded Corners 14">
                <a:extLst>
                  <a:ext uri="{FF2B5EF4-FFF2-40B4-BE49-F238E27FC236}">
                    <a16:creationId xmlns:a16="http://schemas.microsoft.com/office/drawing/2014/main" xmlns="" id="{27D6CA5F-4E04-4B49-A2FF-8A0C1CD78895}"/>
                  </a:ext>
                </a:extLst>
              </p:cNvPr>
              <p:cNvSpPr/>
              <p:nvPr/>
            </p:nvSpPr>
            <p:spPr>
              <a:xfrm>
                <a:off x="1930401" y="2540000"/>
                <a:ext cx="1303688" cy="646331"/>
              </a:xfrm>
              <a:prstGeom prst="roundRect">
                <a:avLst>
                  <a:gd name="adj" fmla="val 50000"/>
                </a:avLst>
              </a:prstGeom>
              <a:solidFill>
                <a:srgbClr val="DE0A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 name="Oval 15">
                <a:extLst>
                  <a:ext uri="{FF2B5EF4-FFF2-40B4-BE49-F238E27FC236}">
                    <a16:creationId xmlns:a16="http://schemas.microsoft.com/office/drawing/2014/main" xmlns="" id="{D8197413-EA0E-41FD-9721-635E4F68AFF5}"/>
                  </a:ext>
                </a:extLst>
              </p:cNvPr>
              <p:cNvSpPr/>
              <p:nvPr/>
            </p:nvSpPr>
            <p:spPr>
              <a:xfrm>
                <a:off x="1928967" y="2540000"/>
                <a:ext cx="646331" cy="646331"/>
              </a:xfrm>
              <a:prstGeom prst="ellipse">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solidFill>
                    <a:latin typeface="+mj-lt"/>
                  </a:rPr>
                  <a:t>Is not</a:t>
                </a:r>
              </a:p>
            </p:txBody>
          </p:sp>
        </p:grpSp>
      </p:grpSp>
      <p:sp>
        <p:nvSpPr>
          <p:cNvPr id="17" name="Google Shape;942;p146">
            <a:extLst>
              <a:ext uri="{FF2B5EF4-FFF2-40B4-BE49-F238E27FC236}">
                <a16:creationId xmlns:a16="http://schemas.microsoft.com/office/drawing/2014/main" xmlns="" id="{F6511A23-2112-4EA7-B22D-B35E714E771D}"/>
              </a:ext>
            </a:extLst>
          </p:cNvPr>
          <p:cNvSpPr txBox="1">
            <a:spLocks/>
          </p:cNvSpPr>
          <p:nvPr/>
        </p:nvSpPr>
        <p:spPr bwMode="gray">
          <a:xfrm>
            <a:off x="708627" y="4146028"/>
            <a:ext cx="5002596" cy="1643132"/>
          </a:xfrm>
          <a:prstGeom prst="rect">
            <a:avLst/>
          </a:prstGeom>
          <a:noFill/>
          <a:ln>
            <a:noFill/>
          </a:ln>
        </p:spPr>
        <p:txBody>
          <a:bodyPr spcFirstLastPara="1" vert="horz" wrap="square" lIns="0" tIns="0" rIns="0" bIns="0" rtlCol="0" anchor="t" anchorCtr="0">
            <a:noAutofit/>
          </a:bodyPr>
          <a:lst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2625" indent="-22542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lang="en-US" sz="1600" kern="1200" dirty="0">
                <a:solidFill>
                  <a:schemeClr val="tx1"/>
                </a:solidFill>
                <a:latin typeface="+mn-lt"/>
                <a:ea typeface="+mn-ea"/>
                <a:cs typeface="+mn-cs"/>
              </a:defRPr>
            </a:lvl4pPr>
            <a:lvl5pPr marL="1146175" indent="-23177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spcAft>
                <a:spcPts val="1800"/>
              </a:spcAft>
              <a:buClr>
                <a:srgbClr val="002856"/>
              </a:buClr>
            </a:pPr>
            <a:r>
              <a:rPr lang="en-US" sz="2000" dirty="0">
                <a:solidFill>
                  <a:schemeClr val="dk1"/>
                </a:solidFill>
                <a:ea typeface="Arial"/>
                <a:cs typeface="Arial"/>
                <a:sym typeface="Arial"/>
              </a:rPr>
              <a:t>A collection of jobs within an organization</a:t>
            </a:r>
          </a:p>
          <a:p>
            <a:pPr marL="342900" indent="-342900">
              <a:spcAft>
                <a:spcPts val="1800"/>
              </a:spcAft>
              <a:buClr>
                <a:srgbClr val="002856"/>
              </a:buClr>
            </a:pPr>
            <a:r>
              <a:rPr lang="en-US" sz="2000" dirty="0">
                <a:solidFill>
                  <a:schemeClr val="dk1"/>
                </a:solidFill>
                <a:ea typeface="Arial"/>
                <a:cs typeface="Arial"/>
                <a:sym typeface="Arial"/>
              </a:rPr>
              <a:t>A way to segment jobs into meaningful groups and levels</a:t>
            </a:r>
          </a:p>
          <a:p>
            <a:pPr marL="342900" indent="-342900">
              <a:spcAft>
                <a:spcPts val="1800"/>
              </a:spcAft>
              <a:buClr>
                <a:srgbClr val="002856"/>
              </a:buClr>
            </a:pPr>
            <a:r>
              <a:rPr lang="en-US" sz="2000" dirty="0">
                <a:solidFill>
                  <a:schemeClr val="dk1"/>
                </a:solidFill>
                <a:ea typeface="Arial"/>
                <a:cs typeface="Arial"/>
                <a:sym typeface="Arial"/>
              </a:rPr>
              <a:t>A framework to support career paths</a:t>
            </a:r>
          </a:p>
        </p:txBody>
      </p:sp>
      <p:sp>
        <p:nvSpPr>
          <p:cNvPr id="18" name="Google Shape;942;p146">
            <a:extLst>
              <a:ext uri="{FF2B5EF4-FFF2-40B4-BE49-F238E27FC236}">
                <a16:creationId xmlns:a16="http://schemas.microsoft.com/office/drawing/2014/main" xmlns="" id="{09457914-FE93-4966-ADAC-5351503D8A47}"/>
              </a:ext>
            </a:extLst>
          </p:cNvPr>
          <p:cNvSpPr txBox="1">
            <a:spLocks/>
          </p:cNvSpPr>
          <p:nvPr/>
        </p:nvSpPr>
        <p:spPr bwMode="gray">
          <a:xfrm>
            <a:off x="6477729" y="4146028"/>
            <a:ext cx="5002596" cy="1416570"/>
          </a:xfrm>
          <a:prstGeom prst="rect">
            <a:avLst/>
          </a:prstGeom>
          <a:noFill/>
          <a:ln>
            <a:noFill/>
          </a:ln>
        </p:spPr>
        <p:txBody>
          <a:bodyPr spcFirstLastPara="1" vert="horz" wrap="square" lIns="0" tIns="0" rIns="0" bIns="0" rtlCol="0" anchor="t" anchorCtr="0">
            <a:noAutofit/>
          </a:bodyPr>
          <a:lst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2625" indent="-22542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lang="en-US" sz="1600" kern="1200" dirty="0">
                <a:solidFill>
                  <a:schemeClr val="tx1"/>
                </a:solidFill>
                <a:latin typeface="+mn-lt"/>
                <a:ea typeface="+mn-ea"/>
                <a:cs typeface="+mn-cs"/>
              </a:defRPr>
            </a:lvl4pPr>
            <a:lvl5pPr marL="1146175" indent="-23177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spcAft>
                <a:spcPts val="1800"/>
              </a:spcAft>
              <a:buClr>
                <a:srgbClr val="002856"/>
              </a:buClr>
            </a:pPr>
            <a:r>
              <a:rPr lang="en-US" sz="2000" dirty="0">
                <a:solidFill>
                  <a:schemeClr val="dk1"/>
                </a:solidFill>
                <a:ea typeface="Arial"/>
                <a:cs typeface="Arial"/>
                <a:sym typeface="Arial"/>
              </a:rPr>
              <a:t>A Reporting Structure</a:t>
            </a:r>
          </a:p>
          <a:p>
            <a:pPr marL="342900" indent="-342900">
              <a:spcAft>
                <a:spcPts val="1800"/>
              </a:spcAft>
              <a:buClr>
                <a:srgbClr val="002856"/>
              </a:buClr>
            </a:pPr>
            <a:r>
              <a:rPr lang="en-US" sz="2000" dirty="0">
                <a:solidFill>
                  <a:schemeClr val="dk1"/>
                </a:solidFill>
                <a:ea typeface="Arial"/>
                <a:cs typeface="Arial"/>
                <a:sym typeface="Arial"/>
              </a:rPr>
              <a:t>An Organization Design</a:t>
            </a:r>
          </a:p>
          <a:p>
            <a:pPr marL="342900" indent="-342900">
              <a:spcAft>
                <a:spcPts val="1800"/>
              </a:spcAft>
              <a:buClr>
                <a:srgbClr val="002856"/>
              </a:buClr>
            </a:pPr>
            <a:r>
              <a:rPr lang="en-US" sz="2000" dirty="0">
                <a:solidFill>
                  <a:schemeClr val="dk1"/>
                </a:solidFill>
                <a:ea typeface="Arial"/>
                <a:cs typeface="Arial"/>
                <a:sym typeface="Arial"/>
              </a:rPr>
              <a:t>An Operating Model</a:t>
            </a:r>
          </a:p>
        </p:txBody>
      </p:sp>
      <p:sp>
        <p:nvSpPr>
          <p:cNvPr id="20" name="Rectangle 19">
            <a:extLst>
              <a:ext uri="{FF2B5EF4-FFF2-40B4-BE49-F238E27FC236}">
                <a16:creationId xmlns:a16="http://schemas.microsoft.com/office/drawing/2014/main" xmlns="" id="{182B83C2-2F96-4289-BE07-95517B331E5A}"/>
              </a:ext>
            </a:extLst>
          </p:cNvPr>
          <p:cNvSpPr/>
          <p:nvPr/>
        </p:nvSpPr>
        <p:spPr>
          <a:xfrm>
            <a:off x="5058985" y="2933852"/>
            <a:ext cx="2388154" cy="369332"/>
          </a:xfrm>
          <a:prstGeom prst="rect">
            <a:avLst/>
          </a:prstGeom>
        </p:spPr>
        <p:txBody>
          <a:bodyPr wrap="none">
            <a:spAutoFit/>
          </a:bodyPr>
          <a:lstStyle/>
          <a:p>
            <a:r>
              <a:rPr lang="en-US" b="1" dirty="0">
                <a:latin typeface="+mj-lt"/>
              </a:rPr>
              <a:t>Job Architecture </a:t>
            </a:r>
            <a:endParaRPr lang="en-US" dirty="0">
              <a:latin typeface="+mj-lt"/>
            </a:endParaRPr>
          </a:p>
        </p:txBody>
      </p:sp>
      <p:pic>
        <p:nvPicPr>
          <p:cNvPr id="21" name="Graphic 20">
            <a:extLst>
              <a:ext uri="{FF2B5EF4-FFF2-40B4-BE49-F238E27FC236}">
                <a16:creationId xmlns:a16="http://schemas.microsoft.com/office/drawing/2014/main" xmlns="" id="{45BA8267-E8A8-4631-8166-566B6673B4E5}"/>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457200" y="1384302"/>
            <a:ext cx="1057275" cy="1019175"/>
          </a:xfrm>
          <a:prstGeom prst="rect">
            <a:avLst/>
          </a:prstGeom>
        </p:spPr>
      </p:pic>
    </p:spTree>
    <p:extLst>
      <p:ext uri="{BB962C8B-B14F-4D97-AF65-F5344CB8AC3E}">
        <p14:creationId xmlns:p14="http://schemas.microsoft.com/office/powerpoint/2010/main" val="25026605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xmlns="" id="{8E10F0D8-2667-4EB5-B0E5-5297E2F9827E}"/>
              </a:ext>
            </a:extLst>
          </p:cNvPr>
          <p:cNvGraphicFramePr>
            <a:graphicFrameLocks noChangeAspect="1"/>
          </p:cNvGraphicFramePr>
          <p:nvPr>
            <p:custDataLst>
              <p:tags r:id="rId2"/>
            </p:custDataLst>
            <p:extLst>
              <p:ext uri="{D42A27DB-BD31-4B8C-83A1-F6EECF244321}">
                <p14:modId xmlns:p14="http://schemas.microsoft.com/office/powerpoint/2010/main" val="3774624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0" name="think-cell Slide" r:id="rId5" imgW="395" imgH="394" progId="TCLayout.ActiveDocument.1">
                  <p:embed/>
                </p:oleObj>
              </mc:Choice>
              <mc:Fallback>
                <p:oleObj name="think-cell Slide" r:id="rId5" imgW="395" imgH="394" progId="TCLayout.ActiveDocument.1">
                  <p:embed/>
                  <p:pic>
                    <p:nvPicPr>
                      <p:cNvPr id="22" name="Object 21" hidden="1">
                        <a:extLst>
                          <a:ext uri="{FF2B5EF4-FFF2-40B4-BE49-F238E27FC236}">
                            <a16:creationId xmlns:a16="http://schemas.microsoft.com/office/drawing/2014/main" xmlns="" id="{8E10F0D8-2667-4EB5-B0E5-5297E2F9827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ounded Rectangle 37">
            <a:extLst>
              <a:ext uri="{FF2B5EF4-FFF2-40B4-BE49-F238E27FC236}">
                <a16:creationId xmlns:a16="http://schemas.microsoft.com/office/drawing/2014/main" xmlns="" id="{6D739C1D-8636-424D-BEE4-B9C928D7E609}"/>
              </a:ext>
            </a:extLst>
          </p:cNvPr>
          <p:cNvSpPr/>
          <p:nvPr/>
        </p:nvSpPr>
        <p:spPr bwMode="gray">
          <a:xfrm>
            <a:off x="2730249" y="3165041"/>
            <a:ext cx="2198371" cy="1600438"/>
          </a:xfrm>
          <a:prstGeom prst="roundRect">
            <a:avLst>
              <a:gd name="adj" fmla="val 0"/>
            </a:avLst>
          </a:prstGeom>
          <a:solidFill>
            <a:srgbClr val="002856"/>
          </a:solidFill>
          <a:ln w="19050">
            <a:noFill/>
          </a:ln>
          <a:effectLst/>
        </p:spPr>
        <p:style>
          <a:lnRef idx="1">
            <a:schemeClr val="accent1"/>
          </a:lnRef>
          <a:fillRef idx="3">
            <a:schemeClr val="accent1"/>
          </a:fillRef>
          <a:effectRef idx="2">
            <a:schemeClr val="accent1"/>
          </a:effectRef>
          <a:fontRef idx="minor">
            <a:schemeClr val="lt1"/>
          </a:fontRef>
        </p:style>
        <p:txBody>
          <a:bodyPr tIns="1005840" bIns="182880" rtlCol="0" anchor="t"/>
          <a:lstStyle/>
          <a:p>
            <a:pPr algn="ctr" fontAlgn="base">
              <a:spcAft>
                <a:spcPct val="0"/>
              </a:spcAft>
              <a:buClr>
                <a:srgbClr val="E12A2B"/>
              </a:buClr>
              <a:buSzPct val="100000"/>
            </a:pPr>
            <a:r>
              <a:rPr lang="en-US" sz="1600" b="1" kern="0" dirty="0">
                <a:solidFill>
                  <a:schemeClr val="bg1"/>
                </a:solidFill>
                <a:latin typeface="+mj-lt"/>
              </a:rPr>
              <a:t>Recruitment</a:t>
            </a:r>
          </a:p>
        </p:txBody>
      </p:sp>
      <p:sp>
        <p:nvSpPr>
          <p:cNvPr id="5" name="Rounded Rectangle 38">
            <a:extLst>
              <a:ext uri="{FF2B5EF4-FFF2-40B4-BE49-F238E27FC236}">
                <a16:creationId xmlns:a16="http://schemas.microsoft.com/office/drawing/2014/main" xmlns="" id="{E40D53AD-AFE6-4944-9F21-E982BE3CF869}"/>
              </a:ext>
            </a:extLst>
          </p:cNvPr>
          <p:cNvSpPr/>
          <p:nvPr/>
        </p:nvSpPr>
        <p:spPr bwMode="gray">
          <a:xfrm>
            <a:off x="4995676" y="3165041"/>
            <a:ext cx="2198371" cy="1600438"/>
          </a:xfrm>
          <a:prstGeom prst="roundRect">
            <a:avLst>
              <a:gd name="adj" fmla="val 0"/>
            </a:avLst>
          </a:prstGeom>
          <a:solidFill>
            <a:srgbClr val="002856"/>
          </a:solidFill>
          <a:ln w="19050">
            <a:noFill/>
          </a:ln>
          <a:effectLst/>
        </p:spPr>
        <p:style>
          <a:lnRef idx="1">
            <a:schemeClr val="accent1"/>
          </a:lnRef>
          <a:fillRef idx="3">
            <a:schemeClr val="accent1"/>
          </a:fillRef>
          <a:effectRef idx="2">
            <a:schemeClr val="accent1"/>
          </a:effectRef>
          <a:fontRef idx="minor">
            <a:schemeClr val="lt1"/>
          </a:fontRef>
        </p:style>
        <p:txBody>
          <a:bodyPr tIns="1005840" bIns="182880" rtlCol="0" anchor="t"/>
          <a:lstStyle/>
          <a:p>
            <a:pPr algn="ctr" fontAlgn="base">
              <a:spcAft>
                <a:spcPct val="0"/>
              </a:spcAft>
              <a:buClr>
                <a:srgbClr val="E12A2B"/>
              </a:buClr>
              <a:buSzPct val="100000"/>
            </a:pPr>
            <a:r>
              <a:rPr lang="en-US" sz="1600" b="1" kern="0" dirty="0">
                <a:solidFill>
                  <a:schemeClr val="bg1"/>
                </a:solidFill>
                <a:latin typeface="+mj-lt"/>
              </a:rPr>
              <a:t>Learning Development</a:t>
            </a:r>
          </a:p>
        </p:txBody>
      </p:sp>
      <p:sp>
        <p:nvSpPr>
          <p:cNvPr id="6" name="Rounded Rectangle 41">
            <a:extLst>
              <a:ext uri="{FF2B5EF4-FFF2-40B4-BE49-F238E27FC236}">
                <a16:creationId xmlns:a16="http://schemas.microsoft.com/office/drawing/2014/main" xmlns="" id="{7F88A9A4-DF99-4118-B7A4-85D050046ACB}"/>
              </a:ext>
            </a:extLst>
          </p:cNvPr>
          <p:cNvSpPr/>
          <p:nvPr/>
        </p:nvSpPr>
        <p:spPr bwMode="gray">
          <a:xfrm>
            <a:off x="7261103" y="3165041"/>
            <a:ext cx="2198371" cy="1600438"/>
          </a:xfrm>
          <a:prstGeom prst="roundRect">
            <a:avLst>
              <a:gd name="adj" fmla="val 0"/>
            </a:avLst>
          </a:prstGeom>
          <a:solidFill>
            <a:srgbClr val="002856"/>
          </a:solidFill>
          <a:ln w="19050">
            <a:noFill/>
          </a:ln>
          <a:effectLst/>
        </p:spPr>
        <p:style>
          <a:lnRef idx="1">
            <a:schemeClr val="accent1"/>
          </a:lnRef>
          <a:fillRef idx="3">
            <a:schemeClr val="accent1"/>
          </a:fillRef>
          <a:effectRef idx="2">
            <a:schemeClr val="accent1"/>
          </a:effectRef>
          <a:fontRef idx="minor">
            <a:schemeClr val="lt1"/>
          </a:fontRef>
        </p:style>
        <p:txBody>
          <a:bodyPr tIns="1005840" bIns="182880" rtlCol="0" anchor="t"/>
          <a:lstStyle/>
          <a:p>
            <a:pPr algn="ctr" fontAlgn="base">
              <a:spcAft>
                <a:spcPct val="0"/>
              </a:spcAft>
              <a:buClr>
                <a:srgbClr val="E12A2B"/>
              </a:buClr>
              <a:buSzPct val="100000"/>
            </a:pPr>
            <a:r>
              <a:rPr lang="en-US" sz="1600" b="1" kern="0" dirty="0">
                <a:solidFill>
                  <a:schemeClr val="bg1"/>
                </a:solidFill>
                <a:latin typeface="+mj-lt"/>
              </a:rPr>
              <a:t>Performance Management</a:t>
            </a:r>
          </a:p>
        </p:txBody>
      </p:sp>
      <p:sp>
        <p:nvSpPr>
          <p:cNvPr id="7" name="Rounded Rectangle 42">
            <a:extLst>
              <a:ext uri="{FF2B5EF4-FFF2-40B4-BE49-F238E27FC236}">
                <a16:creationId xmlns:a16="http://schemas.microsoft.com/office/drawing/2014/main" xmlns="" id="{5CC45163-95A5-4DF3-A517-77F78C502442}"/>
              </a:ext>
            </a:extLst>
          </p:cNvPr>
          <p:cNvSpPr/>
          <p:nvPr/>
        </p:nvSpPr>
        <p:spPr bwMode="gray">
          <a:xfrm>
            <a:off x="464823" y="3165041"/>
            <a:ext cx="2198371" cy="1600438"/>
          </a:xfrm>
          <a:prstGeom prst="roundRect">
            <a:avLst>
              <a:gd name="adj" fmla="val 0"/>
            </a:avLst>
          </a:prstGeom>
          <a:solidFill>
            <a:srgbClr val="002856"/>
          </a:solidFill>
          <a:ln w="19050">
            <a:noFill/>
          </a:ln>
          <a:effectLst/>
        </p:spPr>
        <p:style>
          <a:lnRef idx="1">
            <a:schemeClr val="accent1"/>
          </a:lnRef>
          <a:fillRef idx="3">
            <a:schemeClr val="accent1"/>
          </a:fillRef>
          <a:effectRef idx="2">
            <a:schemeClr val="accent1"/>
          </a:effectRef>
          <a:fontRef idx="minor">
            <a:schemeClr val="lt1"/>
          </a:fontRef>
        </p:style>
        <p:txBody>
          <a:bodyPr tIns="1005840" bIns="182880" rtlCol="0" anchor="t"/>
          <a:lstStyle/>
          <a:p>
            <a:pPr algn="ctr" fontAlgn="base">
              <a:spcAft>
                <a:spcPct val="0"/>
              </a:spcAft>
              <a:buClr>
                <a:srgbClr val="E12A2B"/>
              </a:buClr>
              <a:buSzPct val="100000"/>
            </a:pPr>
            <a:r>
              <a:rPr lang="en-US" sz="1600" b="1" kern="0" dirty="0">
                <a:solidFill>
                  <a:schemeClr val="bg1"/>
                </a:solidFill>
                <a:latin typeface="+mj-lt"/>
              </a:rPr>
              <a:t>Workforce Planning</a:t>
            </a:r>
          </a:p>
        </p:txBody>
      </p:sp>
      <p:sp>
        <p:nvSpPr>
          <p:cNvPr id="20" name="Rounded Rectangle 41">
            <a:extLst>
              <a:ext uri="{FF2B5EF4-FFF2-40B4-BE49-F238E27FC236}">
                <a16:creationId xmlns:a16="http://schemas.microsoft.com/office/drawing/2014/main" xmlns="" id="{4E5E6501-C27F-44F4-911C-C57BD8C0CDA5}"/>
              </a:ext>
            </a:extLst>
          </p:cNvPr>
          <p:cNvSpPr/>
          <p:nvPr/>
        </p:nvSpPr>
        <p:spPr bwMode="gray">
          <a:xfrm>
            <a:off x="9526530" y="3165041"/>
            <a:ext cx="2198371" cy="1600438"/>
          </a:xfrm>
          <a:prstGeom prst="roundRect">
            <a:avLst>
              <a:gd name="adj" fmla="val 0"/>
            </a:avLst>
          </a:prstGeom>
          <a:solidFill>
            <a:srgbClr val="002856"/>
          </a:solidFill>
          <a:ln w="19050">
            <a:noFill/>
          </a:ln>
          <a:effectLst/>
        </p:spPr>
        <p:style>
          <a:lnRef idx="1">
            <a:schemeClr val="accent1"/>
          </a:lnRef>
          <a:fillRef idx="3">
            <a:schemeClr val="accent1"/>
          </a:fillRef>
          <a:effectRef idx="2">
            <a:schemeClr val="accent1"/>
          </a:effectRef>
          <a:fontRef idx="minor">
            <a:schemeClr val="lt1"/>
          </a:fontRef>
        </p:style>
        <p:txBody>
          <a:bodyPr tIns="1005840" bIns="182880" rtlCol="0" anchor="t"/>
          <a:lstStyle/>
          <a:p>
            <a:pPr algn="ctr" fontAlgn="base">
              <a:spcAft>
                <a:spcPct val="0"/>
              </a:spcAft>
              <a:buClr>
                <a:srgbClr val="E12A2B"/>
              </a:buClr>
              <a:buSzPct val="100000"/>
            </a:pPr>
            <a:r>
              <a:rPr lang="en-US" sz="1600" b="1" kern="0" dirty="0">
                <a:solidFill>
                  <a:schemeClr val="bg1"/>
                </a:solidFill>
                <a:latin typeface="+mj-lt"/>
              </a:rPr>
              <a:t>Rewards</a:t>
            </a:r>
          </a:p>
        </p:txBody>
      </p:sp>
      <p:sp>
        <p:nvSpPr>
          <p:cNvPr id="2" name="Title 1">
            <a:extLst>
              <a:ext uri="{FF2B5EF4-FFF2-40B4-BE49-F238E27FC236}">
                <a16:creationId xmlns:a16="http://schemas.microsoft.com/office/drawing/2014/main" xmlns="" id="{3A210149-5C14-4834-AC71-6BAAF611CD60}"/>
              </a:ext>
            </a:extLst>
          </p:cNvPr>
          <p:cNvSpPr>
            <a:spLocks noGrp="1"/>
          </p:cNvSpPr>
          <p:nvPr>
            <p:ph type="title"/>
          </p:nvPr>
        </p:nvSpPr>
        <p:spPr bwMode="gray"/>
        <p:txBody>
          <a:bodyPr vert="horz"/>
          <a:lstStyle/>
          <a:p>
            <a:r>
              <a:rPr lang="en-US" dirty="0"/>
              <a:t>Job Architecture Lays the Foundation and Building Blocks for All Aspects of Talent Management</a:t>
            </a:r>
          </a:p>
        </p:txBody>
      </p:sp>
      <p:sp>
        <p:nvSpPr>
          <p:cNvPr id="8" name="Freeform 533">
            <a:extLst>
              <a:ext uri="{FF2B5EF4-FFF2-40B4-BE49-F238E27FC236}">
                <a16:creationId xmlns:a16="http://schemas.microsoft.com/office/drawing/2014/main" xmlns="" id="{25A5AE7A-C5A8-4510-83C0-0CFF5829E75F}"/>
              </a:ext>
            </a:extLst>
          </p:cNvPr>
          <p:cNvSpPr>
            <a:spLocks noEditPoints="1"/>
          </p:cNvSpPr>
          <p:nvPr/>
        </p:nvSpPr>
        <p:spPr bwMode="gray">
          <a:xfrm>
            <a:off x="10360178" y="3422268"/>
            <a:ext cx="531075" cy="575325"/>
          </a:xfrm>
          <a:custGeom>
            <a:avLst/>
            <a:gdLst>
              <a:gd name="T0" fmla="*/ 168 w 208"/>
              <a:gd name="T1" fmla="*/ 32 h 200"/>
              <a:gd name="T2" fmla="*/ 168 w 208"/>
              <a:gd name="T3" fmla="*/ 0 h 200"/>
              <a:gd name="T4" fmla="*/ 40 w 208"/>
              <a:gd name="T5" fmla="*/ 0 h 200"/>
              <a:gd name="T6" fmla="*/ 40 w 208"/>
              <a:gd name="T7" fmla="*/ 32 h 200"/>
              <a:gd name="T8" fmla="*/ 0 w 208"/>
              <a:gd name="T9" fmla="*/ 32 h 200"/>
              <a:gd name="T10" fmla="*/ 0 w 208"/>
              <a:gd name="T11" fmla="*/ 52 h 200"/>
              <a:gd name="T12" fmla="*/ 43 w 208"/>
              <a:gd name="T13" fmla="*/ 100 h 200"/>
              <a:gd name="T14" fmla="*/ 96 w 208"/>
              <a:gd name="T15" fmla="*/ 143 h 200"/>
              <a:gd name="T16" fmla="*/ 96 w 208"/>
              <a:gd name="T17" fmla="*/ 184 h 200"/>
              <a:gd name="T18" fmla="*/ 56 w 208"/>
              <a:gd name="T19" fmla="*/ 184 h 200"/>
              <a:gd name="T20" fmla="*/ 56 w 208"/>
              <a:gd name="T21" fmla="*/ 200 h 200"/>
              <a:gd name="T22" fmla="*/ 152 w 208"/>
              <a:gd name="T23" fmla="*/ 200 h 200"/>
              <a:gd name="T24" fmla="*/ 152 w 208"/>
              <a:gd name="T25" fmla="*/ 184 h 200"/>
              <a:gd name="T26" fmla="*/ 112 w 208"/>
              <a:gd name="T27" fmla="*/ 184 h 200"/>
              <a:gd name="T28" fmla="*/ 112 w 208"/>
              <a:gd name="T29" fmla="*/ 143 h 200"/>
              <a:gd name="T30" fmla="*/ 165 w 208"/>
              <a:gd name="T31" fmla="*/ 100 h 200"/>
              <a:gd name="T32" fmla="*/ 208 w 208"/>
              <a:gd name="T33" fmla="*/ 52 h 200"/>
              <a:gd name="T34" fmla="*/ 208 w 208"/>
              <a:gd name="T35" fmla="*/ 32 h 200"/>
              <a:gd name="T36" fmla="*/ 168 w 208"/>
              <a:gd name="T37" fmla="*/ 32 h 200"/>
              <a:gd name="T38" fmla="*/ 16 w 208"/>
              <a:gd name="T39" fmla="*/ 52 h 200"/>
              <a:gd name="T40" fmla="*/ 16 w 208"/>
              <a:gd name="T41" fmla="*/ 48 h 200"/>
              <a:gd name="T42" fmla="*/ 40 w 208"/>
              <a:gd name="T43" fmla="*/ 48 h 200"/>
              <a:gd name="T44" fmla="*/ 40 w 208"/>
              <a:gd name="T45" fmla="*/ 80 h 200"/>
              <a:gd name="T46" fmla="*/ 40 w 208"/>
              <a:gd name="T47" fmla="*/ 83 h 200"/>
              <a:gd name="T48" fmla="*/ 16 w 208"/>
              <a:gd name="T49" fmla="*/ 52 h 200"/>
              <a:gd name="T50" fmla="*/ 104 w 208"/>
              <a:gd name="T51" fmla="*/ 128 h 200"/>
              <a:gd name="T52" fmla="*/ 56 w 208"/>
              <a:gd name="T53" fmla="*/ 83 h 200"/>
              <a:gd name="T54" fmla="*/ 56 w 208"/>
              <a:gd name="T55" fmla="*/ 32 h 200"/>
              <a:gd name="T56" fmla="*/ 56 w 208"/>
              <a:gd name="T57" fmla="*/ 32 h 200"/>
              <a:gd name="T58" fmla="*/ 56 w 208"/>
              <a:gd name="T59" fmla="*/ 16 h 200"/>
              <a:gd name="T60" fmla="*/ 152 w 208"/>
              <a:gd name="T61" fmla="*/ 16 h 200"/>
              <a:gd name="T62" fmla="*/ 152 w 208"/>
              <a:gd name="T63" fmla="*/ 32 h 200"/>
              <a:gd name="T64" fmla="*/ 152 w 208"/>
              <a:gd name="T65" fmla="*/ 32 h 200"/>
              <a:gd name="T66" fmla="*/ 152 w 208"/>
              <a:gd name="T67" fmla="*/ 83 h 200"/>
              <a:gd name="T68" fmla="*/ 104 w 208"/>
              <a:gd name="T69" fmla="*/ 128 h 200"/>
              <a:gd name="T70" fmla="*/ 192 w 208"/>
              <a:gd name="T71" fmla="*/ 52 h 200"/>
              <a:gd name="T72" fmla="*/ 168 w 208"/>
              <a:gd name="T73" fmla="*/ 83 h 200"/>
              <a:gd name="T74" fmla="*/ 168 w 208"/>
              <a:gd name="T75" fmla="*/ 80 h 200"/>
              <a:gd name="T76" fmla="*/ 168 w 208"/>
              <a:gd name="T77" fmla="*/ 48 h 200"/>
              <a:gd name="T78" fmla="*/ 192 w 208"/>
              <a:gd name="T79" fmla="*/ 48 h 200"/>
              <a:gd name="T80" fmla="*/ 192 w 208"/>
              <a:gd name="T81" fmla="*/ 5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 h="200">
                <a:moveTo>
                  <a:pt x="168" y="32"/>
                </a:moveTo>
                <a:cubicBezTo>
                  <a:pt x="168" y="0"/>
                  <a:pt x="168" y="0"/>
                  <a:pt x="168" y="0"/>
                </a:cubicBezTo>
                <a:cubicBezTo>
                  <a:pt x="40" y="0"/>
                  <a:pt x="40" y="0"/>
                  <a:pt x="40" y="0"/>
                </a:cubicBezTo>
                <a:cubicBezTo>
                  <a:pt x="40" y="32"/>
                  <a:pt x="40" y="32"/>
                  <a:pt x="40" y="32"/>
                </a:cubicBezTo>
                <a:cubicBezTo>
                  <a:pt x="0" y="32"/>
                  <a:pt x="0" y="32"/>
                  <a:pt x="0" y="32"/>
                </a:cubicBezTo>
                <a:cubicBezTo>
                  <a:pt x="0" y="52"/>
                  <a:pt x="0" y="52"/>
                  <a:pt x="0" y="52"/>
                </a:cubicBezTo>
                <a:cubicBezTo>
                  <a:pt x="0" y="77"/>
                  <a:pt x="19" y="97"/>
                  <a:pt x="43" y="100"/>
                </a:cubicBezTo>
                <a:cubicBezTo>
                  <a:pt x="51" y="123"/>
                  <a:pt x="71" y="140"/>
                  <a:pt x="96" y="143"/>
                </a:cubicBezTo>
                <a:cubicBezTo>
                  <a:pt x="96" y="184"/>
                  <a:pt x="96" y="184"/>
                  <a:pt x="96" y="184"/>
                </a:cubicBezTo>
                <a:cubicBezTo>
                  <a:pt x="56" y="184"/>
                  <a:pt x="56" y="184"/>
                  <a:pt x="56" y="184"/>
                </a:cubicBezTo>
                <a:cubicBezTo>
                  <a:pt x="56" y="200"/>
                  <a:pt x="56" y="200"/>
                  <a:pt x="56" y="200"/>
                </a:cubicBezTo>
                <a:cubicBezTo>
                  <a:pt x="152" y="200"/>
                  <a:pt x="152" y="200"/>
                  <a:pt x="152" y="200"/>
                </a:cubicBezTo>
                <a:cubicBezTo>
                  <a:pt x="152" y="184"/>
                  <a:pt x="152" y="184"/>
                  <a:pt x="152" y="184"/>
                </a:cubicBezTo>
                <a:cubicBezTo>
                  <a:pt x="112" y="184"/>
                  <a:pt x="112" y="184"/>
                  <a:pt x="112" y="184"/>
                </a:cubicBezTo>
                <a:cubicBezTo>
                  <a:pt x="112" y="143"/>
                  <a:pt x="112" y="143"/>
                  <a:pt x="112" y="143"/>
                </a:cubicBezTo>
                <a:cubicBezTo>
                  <a:pt x="137" y="140"/>
                  <a:pt x="157" y="123"/>
                  <a:pt x="165" y="100"/>
                </a:cubicBezTo>
                <a:cubicBezTo>
                  <a:pt x="189" y="97"/>
                  <a:pt x="208" y="77"/>
                  <a:pt x="208" y="52"/>
                </a:cubicBezTo>
                <a:cubicBezTo>
                  <a:pt x="208" y="32"/>
                  <a:pt x="208" y="32"/>
                  <a:pt x="208" y="32"/>
                </a:cubicBezTo>
                <a:lnTo>
                  <a:pt x="168" y="32"/>
                </a:lnTo>
                <a:close/>
                <a:moveTo>
                  <a:pt x="16" y="52"/>
                </a:moveTo>
                <a:cubicBezTo>
                  <a:pt x="16" y="48"/>
                  <a:pt x="16" y="48"/>
                  <a:pt x="16" y="48"/>
                </a:cubicBezTo>
                <a:cubicBezTo>
                  <a:pt x="40" y="48"/>
                  <a:pt x="40" y="48"/>
                  <a:pt x="40" y="48"/>
                </a:cubicBezTo>
                <a:cubicBezTo>
                  <a:pt x="40" y="80"/>
                  <a:pt x="40" y="80"/>
                  <a:pt x="40" y="80"/>
                </a:cubicBezTo>
                <a:cubicBezTo>
                  <a:pt x="40" y="81"/>
                  <a:pt x="40" y="82"/>
                  <a:pt x="40" y="83"/>
                </a:cubicBezTo>
                <a:cubicBezTo>
                  <a:pt x="26" y="79"/>
                  <a:pt x="16" y="67"/>
                  <a:pt x="16" y="52"/>
                </a:cubicBezTo>
                <a:moveTo>
                  <a:pt x="104" y="128"/>
                </a:moveTo>
                <a:cubicBezTo>
                  <a:pt x="79" y="128"/>
                  <a:pt x="58" y="108"/>
                  <a:pt x="56" y="83"/>
                </a:cubicBezTo>
                <a:cubicBezTo>
                  <a:pt x="56" y="32"/>
                  <a:pt x="56" y="32"/>
                  <a:pt x="56" y="32"/>
                </a:cubicBezTo>
                <a:cubicBezTo>
                  <a:pt x="56" y="32"/>
                  <a:pt x="56" y="32"/>
                  <a:pt x="56" y="32"/>
                </a:cubicBezTo>
                <a:cubicBezTo>
                  <a:pt x="56" y="16"/>
                  <a:pt x="56" y="16"/>
                  <a:pt x="56" y="16"/>
                </a:cubicBezTo>
                <a:cubicBezTo>
                  <a:pt x="152" y="16"/>
                  <a:pt x="152" y="16"/>
                  <a:pt x="152" y="16"/>
                </a:cubicBezTo>
                <a:cubicBezTo>
                  <a:pt x="152" y="32"/>
                  <a:pt x="152" y="32"/>
                  <a:pt x="152" y="32"/>
                </a:cubicBezTo>
                <a:cubicBezTo>
                  <a:pt x="152" y="32"/>
                  <a:pt x="152" y="32"/>
                  <a:pt x="152" y="32"/>
                </a:cubicBezTo>
                <a:cubicBezTo>
                  <a:pt x="152" y="83"/>
                  <a:pt x="152" y="83"/>
                  <a:pt x="152" y="83"/>
                </a:cubicBezTo>
                <a:cubicBezTo>
                  <a:pt x="150" y="108"/>
                  <a:pt x="129" y="128"/>
                  <a:pt x="104" y="128"/>
                </a:cubicBezTo>
                <a:moveTo>
                  <a:pt x="192" y="52"/>
                </a:moveTo>
                <a:cubicBezTo>
                  <a:pt x="192" y="67"/>
                  <a:pt x="182" y="79"/>
                  <a:pt x="168" y="83"/>
                </a:cubicBezTo>
                <a:cubicBezTo>
                  <a:pt x="168" y="82"/>
                  <a:pt x="168" y="81"/>
                  <a:pt x="168" y="80"/>
                </a:cubicBezTo>
                <a:cubicBezTo>
                  <a:pt x="168" y="48"/>
                  <a:pt x="168" y="48"/>
                  <a:pt x="168" y="48"/>
                </a:cubicBezTo>
                <a:cubicBezTo>
                  <a:pt x="192" y="48"/>
                  <a:pt x="192" y="48"/>
                  <a:pt x="192" y="48"/>
                </a:cubicBezTo>
                <a:lnTo>
                  <a:pt x="192" y="52"/>
                </a:lnTo>
                <a:close/>
              </a:path>
            </a:pathLst>
          </a:custGeom>
          <a:solidFill>
            <a:srgbClr val="009AD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Arrow: Right 13">
            <a:extLst>
              <a:ext uri="{FF2B5EF4-FFF2-40B4-BE49-F238E27FC236}">
                <a16:creationId xmlns:a16="http://schemas.microsoft.com/office/drawing/2014/main" xmlns="" id="{93EE7E40-813C-45D8-956B-22F143C41B16}"/>
              </a:ext>
            </a:extLst>
          </p:cNvPr>
          <p:cNvSpPr/>
          <p:nvPr/>
        </p:nvSpPr>
        <p:spPr bwMode="gray">
          <a:xfrm rot="16200000">
            <a:off x="5144891" y="-3489086"/>
            <a:ext cx="1892318" cy="11267700"/>
          </a:xfrm>
          <a:prstGeom prst="rightArrow">
            <a:avLst>
              <a:gd name="adj1" fmla="val 50000"/>
              <a:gd name="adj2" fmla="val 100000"/>
            </a:avLst>
          </a:prstGeom>
          <a:solidFill>
            <a:srgbClr val="979D9D"/>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a typeface="Calibri" panose="020F0502020204030204" pitchFamily="34" charset="0"/>
            </a:endParaRPr>
          </a:p>
        </p:txBody>
      </p:sp>
      <p:sp>
        <p:nvSpPr>
          <p:cNvPr id="15" name="Rectangle 14">
            <a:extLst>
              <a:ext uri="{FF2B5EF4-FFF2-40B4-BE49-F238E27FC236}">
                <a16:creationId xmlns:a16="http://schemas.microsoft.com/office/drawing/2014/main" xmlns="" id="{67C8FD59-BB27-410E-B41D-DC2F2375E75E}"/>
              </a:ext>
            </a:extLst>
          </p:cNvPr>
          <p:cNvSpPr/>
          <p:nvPr/>
        </p:nvSpPr>
        <p:spPr bwMode="gray">
          <a:xfrm>
            <a:off x="3859434" y="2036658"/>
            <a:ext cx="4463229" cy="830997"/>
          </a:xfrm>
          <a:prstGeom prst="rect">
            <a:avLst/>
          </a:prstGeom>
        </p:spPr>
        <p:txBody>
          <a:bodyPr wrap="square">
            <a:spAutoFit/>
          </a:bodyPr>
          <a:lstStyle/>
          <a:p>
            <a:pPr algn="ctr"/>
            <a:r>
              <a:rPr lang="en-US" sz="2400" b="1" dirty="0">
                <a:solidFill>
                  <a:schemeClr val="bg1"/>
                </a:solidFill>
                <a:ea typeface="Calibri" panose="020F0502020204030204" pitchFamily="34" charset="0"/>
              </a:rPr>
              <a:t>Align With Business </a:t>
            </a:r>
            <a:br>
              <a:rPr lang="en-US" sz="2400" b="1" dirty="0">
                <a:solidFill>
                  <a:schemeClr val="bg1"/>
                </a:solidFill>
                <a:ea typeface="Calibri" panose="020F0502020204030204" pitchFamily="34" charset="0"/>
              </a:rPr>
            </a:br>
            <a:r>
              <a:rPr lang="en-US" sz="2400" b="1" dirty="0">
                <a:solidFill>
                  <a:schemeClr val="bg1"/>
                </a:solidFill>
                <a:ea typeface="Calibri" panose="020F0502020204030204" pitchFamily="34" charset="0"/>
              </a:rPr>
              <a:t>Strategy and Needs</a:t>
            </a:r>
          </a:p>
        </p:txBody>
      </p:sp>
      <p:sp>
        <p:nvSpPr>
          <p:cNvPr id="23" name="Freeform: Shape 22">
            <a:extLst>
              <a:ext uri="{FF2B5EF4-FFF2-40B4-BE49-F238E27FC236}">
                <a16:creationId xmlns:a16="http://schemas.microsoft.com/office/drawing/2014/main" xmlns="" id="{DB0FF79F-4946-463E-8011-BB4D06CEFC17}"/>
              </a:ext>
            </a:extLst>
          </p:cNvPr>
          <p:cNvSpPr>
            <a:spLocks noChangeAspect="1"/>
          </p:cNvSpPr>
          <p:nvPr/>
        </p:nvSpPr>
        <p:spPr bwMode="gray">
          <a:xfrm>
            <a:off x="1313091" y="3414873"/>
            <a:ext cx="501835" cy="606870"/>
          </a:xfrm>
          <a:custGeom>
            <a:avLst/>
            <a:gdLst>
              <a:gd name="connsiteX0" fmla="*/ 50768 w 409575"/>
              <a:gd name="connsiteY0" fmla="*/ 134779 h 495300"/>
              <a:gd name="connsiteX1" fmla="*/ 84963 w 409575"/>
              <a:gd name="connsiteY1" fmla="*/ 100584 h 495300"/>
              <a:gd name="connsiteX2" fmla="*/ 50768 w 409575"/>
              <a:gd name="connsiteY2" fmla="*/ 66389 h 495300"/>
              <a:gd name="connsiteX3" fmla="*/ 77724 w 409575"/>
              <a:gd name="connsiteY3" fmla="*/ 39434 h 495300"/>
              <a:gd name="connsiteX4" fmla="*/ 111919 w 409575"/>
              <a:gd name="connsiteY4" fmla="*/ 73628 h 495300"/>
              <a:gd name="connsiteX5" fmla="*/ 146113 w 409575"/>
              <a:gd name="connsiteY5" fmla="*/ 39434 h 495300"/>
              <a:gd name="connsiteX6" fmla="*/ 173069 w 409575"/>
              <a:gd name="connsiteY6" fmla="*/ 66389 h 495300"/>
              <a:gd name="connsiteX7" fmla="*/ 138874 w 409575"/>
              <a:gd name="connsiteY7" fmla="*/ 100584 h 495300"/>
              <a:gd name="connsiteX8" fmla="*/ 173069 w 409575"/>
              <a:gd name="connsiteY8" fmla="*/ 134779 h 495300"/>
              <a:gd name="connsiteX9" fmla="*/ 146113 w 409575"/>
              <a:gd name="connsiteY9" fmla="*/ 161735 h 495300"/>
              <a:gd name="connsiteX10" fmla="*/ 111919 w 409575"/>
              <a:gd name="connsiteY10" fmla="*/ 127540 h 495300"/>
              <a:gd name="connsiteX11" fmla="*/ 77724 w 409575"/>
              <a:gd name="connsiteY11" fmla="*/ 161735 h 495300"/>
              <a:gd name="connsiteX12" fmla="*/ 50768 w 409575"/>
              <a:gd name="connsiteY12" fmla="*/ 134779 h 495300"/>
              <a:gd name="connsiteX13" fmla="*/ 411099 w 409575"/>
              <a:gd name="connsiteY13" fmla="*/ 87154 h 495300"/>
              <a:gd name="connsiteX14" fmla="*/ 384143 w 409575"/>
              <a:gd name="connsiteY14" fmla="*/ 114110 h 495300"/>
              <a:gd name="connsiteX15" fmla="*/ 349377 w 409575"/>
              <a:gd name="connsiteY15" fmla="*/ 79343 h 495300"/>
              <a:gd name="connsiteX16" fmla="*/ 349377 w 409575"/>
              <a:gd name="connsiteY16" fmla="*/ 268224 h 495300"/>
              <a:gd name="connsiteX17" fmla="*/ 91821 w 409575"/>
              <a:gd name="connsiteY17" fmla="*/ 268224 h 495300"/>
              <a:gd name="connsiteX18" fmla="*/ 92678 w 409575"/>
              <a:gd name="connsiteY18" fmla="*/ 360521 h 495300"/>
              <a:gd name="connsiteX19" fmla="*/ 140494 w 409575"/>
              <a:gd name="connsiteY19" fmla="*/ 424434 h 495300"/>
              <a:gd name="connsiteX20" fmla="*/ 73819 w 409575"/>
              <a:gd name="connsiteY20" fmla="*/ 491109 h 495300"/>
              <a:gd name="connsiteX21" fmla="*/ 7144 w 409575"/>
              <a:gd name="connsiteY21" fmla="*/ 424434 h 495300"/>
              <a:gd name="connsiteX22" fmla="*/ 54578 w 409575"/>
              <a:gd name="connsiteY22" fmla="*/ 360617 h 495300"/>
              <a:gd name="connsiteX23" fmla="*/ 53340 w 409575"/>
              <a:gd name="connsiteY23" fmla="*/ 230124 h 495300"/>
              <a:gd name="connsiteX24" fmla="*/ 311277 w 409575"/>
              <a:gd name="connsiteY24" fmla="*/ 230124 h 495300"/>
              <a:gd name="connsiteX25" fmla="*/ 311277 w 409575"/>
              <a:gd name="connsiteY25" fmla="*/ 81058 h 495300"/>
              <a:gd name="connsiteX26" fmla="*/ 278321 w 409575"/>
              <a:gd name="connsiteY26" fmla="*/ 114014 h 495300"/>
              <a:gd name="connsiteX27" fmla="*/ 251365 w 409575"/>
              <a:gd name="connsiteY27" fmla="*/ 87059 h 495300"/>
              <a:gd name="connsiteX28" fmla="*/ 331184 w 409575"/>
              <a:gd name="connsiteY28" fmla="*/ 7144 h 495300"/>
              <a:gd name="connsiteX29" fmla="*/ 411099 w 409575"/>
              <a:gd name="connsiteY29" fmla="*/ 87154 h 495300"/>
              <a:gd name="connsiteX30" fmla="*/ 73819 w 409575"/>
              <a:gd name="connsiteY30" fmla="*/ 395859 h 495300"/>
              <a:gd name="connsiteX31" fmla="*/ 45244 w 409575"/>
              <a:gd name="connsiteY31" fmla="*/ 424434 h 495300"/>
              <a:gd name="connsiteX32" fmla="*/ 73819 w 409575"/>
              <a:gd name="connsiteY32" fmla="*/ 453009 h 495300"/>
              <a:gd name="connsiteX33" fmla="*/ 102394 w 409575"/>
              <a:gd name="connsiteY33" fmla="*/ 424434 h 495300"/>
              <a:gd name="connsiteX34" fmla="*/ 73819 w 409575"/>
              <a:gd name="connsiteY34" fmla="*/ 395859 h 495300"/>
              <a:gd name="connsiteX35" fmla="*/ 327565 w 409575"/>
              <a:gd name="connsiteY35" fmla="*/ 344329 h 495300"/>
              <a:gd name="connsiteX36" fmla="*/ 293370 w 409575"/>
              <a:gd name="connsiteY36" fmla="*/ 378524 h 495300"/>
              <a:gd name="connsiteX37" fmla="*/ 259175 w 409575"/>
              <a:gd name="connsiteY37" fmla="*/ 344329 h 495300"/>
              <a:gd name="connsiteX38" fmla="*/ 232220 w 409575"/>
              <a:gd name="connsiteY38" fmla="*/ 371285 h 495300"/>
              <a:gd name="connsiteX39" fmla="*/ 266414 w 409575"/>
              <a:gd name="connsiteY39" fmla="*/ 405479 h 495300"/>
              <a:gd name="connsiteX40" fmla="*/ 232220 w 409575"/>
              <a:gd name="connsiteY40" fmla="*/ 439674 h 495300"/>
              <a:gd name="connsiteX41" fmla="*/ 259175 w 409575"/>
              <a:gd name="connsiteY41" fmla="*/ 466630 h 495300"/>
              <a:gd name="connsiteX42" fmla="*/ 293370 w 409575"/>
              <a:gd name="connsiteY42" fmla="*/ 432435 h 495300"/>
              <a:gd name="connsiteX43" fmla="*/ 327565 w 409575"/>
              <a:gd name="connsiteY43" fmla="*/ 466630 h 495300"/>
              <a:gd name="connsiteX44" fmla="*/ 354521 w 409575"/>
              <a:gd name="connsiteY44" fmla="*/ 439674 h 495300"/>
              <a:gd name="connsiteX45" fmla="*/ 320326 w 409575"/>
              <a:gd name="connsiteY45" fmla="*/ 405479 h 495300"/>
              <a:gd name="connsiteX46" fmla="*/ 354521 w 409575"/>
              <a:gd name="connsiteY46" fmla="*/ 371285 h 495300"/>
              <a:gd name="connsiteX47" fmla="*/ 327565 w 409575"/>
              <a:gd name="connsiteY47" fmla="*/ 344329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09575" h="495300">
                <a:moveTo>
                  <a:pt x="50768" y="134779"/>
                </a:moveTo>
                <a:lnTo>
                  <a:pt x="84963" y="100584"/>
                </a:lnTo>
                <a:lnTo>
                  <a:pt x="50768" y="66389"/>
                </a:lnTo>
                <a:lnTo>
                  <a:pt x="77724" y="39434"/>
                </a:lnTo>
                <a:lnTo>
                  <a:pt x="111919" y="73628"/>
                </a:lnTo>
                <a:lnTo>
                  <a:pt x="146113" y="39434"/>
                </a:lnTo>
                <a:lnTo>
                  <a:pt x="173069" y="66389"/>
                </a:lnTo>
                <a:lnTo>
                  <a:pt x="138874" y="100584"/>
                </a:lnTo>
                <a:lnTo>
                  <a:pt x="173069" y="134779"/>
                </a:lnTo>
                <a:lnTo>
                  <a:pt x="146113" y="161735"/>
                </a:lnTo>
                <a:lnTo>
                  <a:pt x="111919" y="127540"/>
                </a:lnTo>
                <a:lnTo>
                  <a:pt x="77724" y="161735"/>
                </a:lnTo>
                <a:lnTo>
                  <a:pt x="50768" y="134779"/>
                </a:lnTo>
                <a:close/>
                <a:moveTo>
                  <a:pt x="411099" y="87154"/>
                </a:moveTo>
                <a:lnTo>
                  <a:pt x="384143" y="114110"/>
                </a:lnTo>
                <a:lnTo>
                  <a:pt x="349377" y="79343"/>
                </a:lnTo>
                <a:lnTo>
                  <a:pt x="349377" y="268224"/>
                </a:lnTo>
                <a:lnTo>
                  <a:pt x="91821" y="268224"/>
                </a:lnTo>
                <a:lnTo>
                  <a:pt x="92678" y="360521"/>
                </a:lnTo>
                <a:cubicBezTo>
                  <a:pt x="120301" y="368713"/>
                  <a:pt x="140494" y="394240"/>
                  <a:pt x="140494" y="424434"/>
                </a:cubicBezTo>
                <a:cubicBezTo>
                  <a:pt x="140494" y="461201"/>
                  <a:pt x="110585" y="491109"/>
                  <a:pt x="73819" y="491109"/>
                </a:cubicBezTo>
                <a:cubicBezTo>
                  <a:pt x="37052" y="491109"/>
                  <a:pt x="7144" y="461201"/>
                  <a:pt x="7144" y="424434"/>
                </a:cubicBezTo>
                <a:cubicBezTo>
                  <a:pt x="7144" y="394335"/>
                  <a:pt x="27146" y="368903"/>
                  <a:pt x="54578" y="360617"/>
                </a:cubicBezTo>
                <a:lnTo>
                  <a:pt x="53340" y="230124"/>
                </a:lnTo>
                <a:lnTo>
                  <a:pt x="311277" y="230124"/>
                </a:lnTo>
                <a:lnTo>
                  <a:pt x="311277" y="81058"/>
                </a:lnTo>
                <a:lnTo>
                  <a:pt x="278321" y="114014"/>
                </a:lnTo>
                <a:lnTo>
                  <a:pt x="251365" y="87059"/>
                </a:lnTo>
                <a:lnTo>
                  <a:pt x="331184" y="7144"/>
                </a:lnTo>
                <a:lnTo>
                  <a:pt x="411099" y="87154"/>
                </a:lnTo>
                <a:close/>
                <a:moveTo>
                  <a:pt x="73819" y="395859"/>
                </a:moveTo>
                <a:cubicBezTo>
                  <a:pt x="58103" y="395859"/>
                  <a:pt x="45244" y="408718"/>
                  <a:pt x="45244" y="424434"/>
                </a:cubicBezTo>
                <a:cubicBezTo>
                  <a:pt x="45244" y="440150"/>
                  <a:pt x="58103" y="453009"/>
                  <a:pt x="73819" y="453009"/>
                </a:cubicBezTo>
                <a:cubicBezTo>
                  <a:pt x="89535" y="453009"/>
                  <a:pt x="102394" y="440150"/>
                  <a:pt x="102394" y="424434"/>
                </a:cubicBezTo>
                <a:cubicBezTo>
                  <a:pt x="102394" y="408718"/>
                  <a:pt x="89535" y="395859"/>
                  <a:pt x="73819" y="395859"/>
                </a:cubicBezTo>
                <a:close/>
                <a:moveTo>
                  <a:pt x="327565" y="344329"/>
                </a:moveTo>
                <a:lnTo>
                  <a:pt x="293370" y="378524"/>
                </a:lnTo>
                <a:lnTo>
                  <a:pt x="259175" y="344329"/>
                </a:lnTo>
                <a:lnTo>
                  <a:pt x="232220" y="371285"/>
                </a:lnTo>
                <a:lnTo>
                  <a:pt x="266414" y="405479"/>
                </a:lnTo>
                <a:lnTo>
                  <a:pt x="232220" y="439674"/>
                </a:lnTo>
                <a:lnTo>
                  <a:pt x="259175" y="466630"/>
                </a:lnTo>
                <a:lnTo>
                  <a:pt x="293370" y="432435"/>
                </a:lnTo>
                <a:lnTo>
                  <a:pt x="327565" y="466630"/>
                </a:lnTo>
                <a:lnTo>
                  <a:pt x="354521" y="439674"/>
                </a:lnTo>
                <a:lnTo>
                  <a:pt x="320326" y="405479"/>
                </a:lnTo>
                <a:lnTo>
                  <a:pt x="354521" y="371285"/>
                </a:lnTo>
                <a:lnTo>
                  <a:pt x="327565" y="344329"/>
                </a:lnTo>
                <a:close/>
              </a:path>
            </a:pathLst>
          </a:custGeom>
          <a:solidFill>
            <a:srgbClr val="009AD7"/>
          </a:solidFill>
          <a:ln w="9525" cap="flat">
            <a:noFill/>
            <a:prstDash val="solid"/>
            <a:miter/>
          </a:ln>
        </p:spPr>
        <p:txBody>
          <a:bodyPr rtlCol="0" anchor="ctr"/>
          <a:lstStyle/>
          <a:p>
            <a:endParaRPr lang="en-US" dirty="0"/>
          </a:p>
        </p:txBody>
      </p:sp>
      <p:sp>
        <p:nvSpPr>
          <p:cNvPr id="24" name="Freeform 12">
            <a:extLst>
              <a:ext uri="{FF2B5EF4-FFF2-40B4-BE49-F238E27FC236}">
                <a16:creationId xmlns:a16="http://schemas.microsoft.com/office/drawing/2014/main" xmlns="" id="{1BD6B536-CD49-42E7-9A23-4D54E12EAC62}"/>
              </a:ext>
            </a:extLst>
          </p:cNvPr>
          <p:cNvSpPr>
            <a:spLocks noEditPoints="1"/>
          </p:cNvSpPr>
          <p:nvPr/>
        </p:nvSpPr>
        <p:spPr bwMode="gray">
          <a:xfrm>
            <a:off x="3517428" y="3414873"/>
            <a:ext cx="574829" cy="576037"/>
          </a:xfrm>
          <a:custGeom>
            <a:avLst/>
            <a:gdLst>
              <a:gd name="T0" fmla="*/ 105 w 198"/>
              <a:gd name="T1" fmla="*/ 58 h 198"/>
              <a:gd name="T2" fmla="*/ 80 w 198"/>
              <a:gd name="T3" fmla="*/ 33 h 198"/>
              <a:gd name="T4" fmla="*/ 55 w 198"/>
              <a:gd name="T5" fmla="*/ 58 h 198"/>
              <a:gd name="T6" fmla="*/ 66 w 198"/>
              <a:gd name="T7" fmla="*/ 79 h 198"/>
              <a:gd name="T8" fmla="*/ 45 w 198"/>
              <a:gd name="T9" fmla="*/ 79 h 198"/>
              <a:gd name="T10" fmla="*/ 45 w 198"/>
              <a:gd name="T11" fmla="*/ 116 h 198"/>
              <a:gd name="T12" fmla="*/ 59 w 198"/>
              <a:gd name="T13" fmla="*/ 116 h 198"/>
              <a:gd name="T14" fmla="*/ 59 w 198"/>
              <a:gd name="T15" fmla="*/ 93 h 198"/>
              <a:gd name="T16" fmla="*/ 101 w 198"/>
              <a:gd name="T17" fmla="*/ 93 h 198"/>
              <a:gd name="T18" fmla="*/ 101 w 198"/>
              <a:gd name="T19" fmla="*/ 116 h 198"/>
              <a:gd name="T20" fmla="*/ 115 w 198"/>
              <a:gd name="T21" fmla="*/ 116 h 198"/>
              <a:gd name="T22" fmla="*/ 115 w 198"/>
              <a:gd name="T23" fmla="*/ 79 h 198"/>
              <a:gd name="T24" fmla="*/ 94 w 198"/>
              <a:gd name="T25" fmla="*/ 79 h 198"/>
              <a:gd name="T26" fmla="*/ 105 w 198"/>
              <a:gd name="T27" fmla="*/ 58 h 198"/>
              <a:gd name="T28" fmla="*/ 80 w 198"/>
              <a:gd name="T29" fmla="*/ 47 h 198"/>
              <a:gd name="T30" fmla="*/ 91 w 198"/>
              <a:gd name="T31" fmla="*/ 58 h 198"/>
              <a:gd name="T32" fmla="*/ 80 w 198"/>
              <a:gd name="T33" fmla="*/ 69 h 198"/>
              <a:gd name="T34" fmla="*/ 69 w 198"/>
              <a:gd name="T35" fmla="*/ 58 h 198"/>
              <a:gd name="T36" fmla="*/ 80 w 198"/>
              <a:gd name="T37" fmla="*/ 47 h 198"/>
              <a:gd name="T38" fmla="*/ 198 w 198"/>
              <a:gd name="T39" fmla="*/ 186 h 198"/>
              <a:gd name="T40" fmla="*/ 142 w 198"/>
              <a:gd name="T41" fmla="*/ 130 h 198"/>
              <a:gd name="T42" fmla="*/ 160 w 198"/>
              <a:gd name="T43" fmla="*/ 80 h 198"/>
              <a:gd name="T44" fmla="*/ 80 w 198"/>
              <a:gd name="T45" fmla="*/ 0 h 198"/>
              <a:gd name="T46" fmla="*/ 0 w 198"/>
              <a:gd name="T47" fmla="*/ 80 h 198"/>
              <a:gd name="T48" fmla="*/ 80 w 198"/>
              <a:gd name="T49" fmla="*/ 160 h 198"/>
              <a:gd name="T50" fmla="*/ 131 w 198"/>
              <a:gd name="T51" fmla="*/ 142 h 198"/>
              <a:gd name="T52" fmla="*/ 186 w 198"/>
              <a:gd name="T53" fmla="*/ 198 h 198"/>
              <a:gd name="T54" fmla="*/ 198 w 198"/>
              <a:gd name="T55" fmla="*/ 186 h 198"/>
              <a:gd name="T56" fmla="*/ 80 w 198"/>
              <a:gd name="T57" fmla="*/ 144 h 198"/>
              <a:gd name="T58" fmla="*/ 16 w 198"/>
              <a:gd name="T59" fmla="*/ 80 h 198"/>
              <a:gd name="T60" fmla="*/ 80 w 198"/>
              <a:gd name="T61" fmla="*/ 16 h 198"/>
              <a:gd name="T62" fmla="*/ 144 w 198"/>
              <a:gd name="T63" fmla="*/ 80 h 198"/>
              <a:gd name="T64" fmla="*/ 80 w 198"/>
              <a:gd name="T65" fmla="*/ 144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8" h="198">
                <a:moveTo>
                  <a:pt x="105" y="58"/>
                </a:moveTo>
                <a:cubicBezTo>
                  <a:pt x="105" y="44"/>
                  <a:pt x="94" y="33"/>
                  <a:pt x="80" y="33"/>
                </a:cubicBezTo>
                <a:cubicBezTo>
                  <a:pt x="66" y="33"/>
                  <a:pt x="55" y="44"/>
                  <a:pt x="55" y="58"/>
                </a:cubicBezTo>
                <a:cubicBezTo>
                  <a:pt x="55" y="67"/>
                  <a:pt x="59" y="75"/>
                  <a:pt x="66" y="79"/>
                </a:cubicBezTo>
                <a:cubicBezTo>
                  <a:pt x="45" y="79"/>
                  <a:pt x="45" y="79"/>
                  <a:pt x="45" y="79"/>
                </a:cubicBezTo>
                <a:cubicBezTo>
                  <a:pt x="45" y="116"/>
                  <a:pt x="45" y="116"/>
                  <a:pt x="45" y="116"/>
                </a:cubicBezTo>
                <a:cubicBezTo>
                  <a:pt x="59" y="116"/>
                  <a:pt x="59" y="116"/>
                  <a:pt x="59" y="116"/>
                </a:cubicBezTo>
                <a:cubicBezTo>
                  <a:pt x="59" y="93"/>
                  <a:pt x="59" y="93"/>
                  <a:pt x="59" y="93"/>
                </a:cubicBezTo>
                <a:cubicBezTo>
                  <a:pt x="101" y="93"/>
                  <a:pt x="101" y="93"/>
                  <a:pt x="101" y="93"/>
                </a:cubicBezTo>
                <a:cubicBezTo>
                  <a:pt x="101" y="116"/>
                  <a:pt x="101" y="116"/>
                  <a:pt x="101" y="116"/>
                </a:cubicBezTo>
                <a:cubicBezTo>
                  <a:pt x="115" y="116"/>
                  <a:pt x="115" y="116"/>
                  <a:pt x="115" y="116"/>
                </a:cubicBezTo>
                <a:cubicBezTo>
                  <a:pt x="115" y="79"/>
                  <a:pt x="115" y="79"/>
                  <a:pt x="115" y="79"/>
                </a:cubicBezTo>
                <a:cubicBezTo>
                  <a:pt x="94" y="79"/>
                  <a:pt x="94" y="79"/>
                  <a:pt x="94" y="79"/>
                </a:cubicBezTo>
                <a:cubicBezTo>
                  <a:pt x="101" y="75"/>
                  <a:pt x="105" y="67"/>
                  <a:pt x="105" y="58"/>
                </a:cubicBezTo>
                <a:close/>
                <a:moveTo>
                  <a:pt x="80" y="47"/>
                </a:moveTo>
                <a:cubicBezTo>
                  <a:pt x="86" y="47"/>
                  <a:pt x="91" y="52"/>
                  <a:pt x="91" y="58"/>
                </a:cubicBezTo>
                <a:cubicBezTo>
                  <a:pt x="91" y="64"/>
                  <a:pt x="86" y="69"/>
                  <a:pt x="80" y="69"/>
                </a:cubicBezTo>
                <a:cubicBezTo>
                  <a:pt x="74" y="69"/>
                  <a:pt x="69" y="64"/>
                  <a:pt x="69" y="58"/>
                </a:cubicBezTo>
                <a:cubicBezTo>
                  <a:pt x="69" y="52"/>
                  <a:pt x="74" y="47"/>
                  <a:pt x="80" y="47"/>
                </a:cubicBezTo>
                <a:close/>
                <a:moveTo>
                  <a:pt x="198" y="186"/>
                </a:moveTo>
                <a:cubicBezTo>
                  <a:pt x="142" y="130"/>
                  <a:pt x="142" y="130"/>
                  <a:pt x="142" y="130"/>
                </a:cubicBezTo>
                <a:cubicBezTo>
                  <a:pt x="153" y="117"/>
                  <a:pt x="160" y="99"/>
                  <a:pt x="160" y="80"/>
                </a:cubicBezTo>
                <a:cubicBezTo>
                  <a:pt x="160" y="36"/>
                  <a:pt x="124" y="0"/>
                  <a:pt x="80" y="0"/>
                </a:cubicBezTo>
                <a:cubicBezTo>
                  <a:pt x="36" y="0"/>
                  <a:pt x="0" y="36"/>
                  <a:pt x="0" y="80"/>
                </a:cubicBezTo>
                <a:cubicBezTo>
                  <a:pt x="0" y="124"/>
                  <a:pt x="36" y="160"/>
                  <a:pt x="80" y="160"/>
                </a:cubicBezTo>
                <a:cubicBezTo>
                  <a:pt x="99" y="160"/>
                  <a:pt x="117" y="153"/>
                  <a:pt x="131" y="142"/>
                </a:cubicBezTo>
                <a:cubicBezTo>
                  <a:pt x="186" y="198"/>
                  <a:pt x="186" y="198"/>
                  <a:pt x="186" y="198"/>
                </a:cubicBezTo>
                <a:lnTo>
                  <a:pt x="198" y="186"/>
                </a:lnTo>
                <a:close/>
                <a:moveTo>
                  <a:pt x="80" y="144"/>
                </a:moveTo>
                <a:cubicBezTo>
                  <a:pt x="45" y="144"/>
                  <a:pt x="16" y="115"/>
                  <a:pt x="16" y="80"/>
                </a:cubicBezTo>
                <a:cubicBezTo>
                  <a:pt x="16" y="45"/>
                  <a:pt x="45" y="16"/>
                  <a:pt x="80" y="16"/>
                </a:cubicBezTo>
                <a:cubicBezTo>
                  <a:pt x="115" y="16"/>
                  <a:pt x="144" y="45"/>
                  <a:pt x="144" y="80"/>
                </a:cubicBezTo>
                <a:cubicBezTo>
                  <a:pt x="144" y="115"/>
                  <a:pt x="115" y="144"/>
                  <a:pt x="80" y="144"/>
                </a:cubicBezTo>
                <a:close/>
              </a:path>
            </a:pathLst>
          </a:custGeom>
          <a:solidFill>
            <a:srgbClr val="009AD7"/>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25" name="Graphic 24">
            <a:extLst>
              <a:ext uri="{FF2B5EF4-FFF2-40B4-BE49-F238E27FC236}">
                <a16:creationId xmlns:a16="http://schemas.microsoft.com/office/drawing/2014/main" xmlns="" id="{2F87DD6F-800D-4B69-8804-400C0CB31AE7}"/>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bwMode="gray">
          <a:xfrm>
            <a:off x="8121382" y="3467152"/>
            <a:ext cx="571500" cy="381000"/>
          </a:xfrm>
          <a:prstGeom prst="rect">
            <a:avLst/>
          </a:prstGeom>
        </p:spPr>
      </p:pic>
      <p:sp>
        <p:nvSpPr>
          <p:cNvPr id="26" name="Freeform 59">
            <a:extLst>
              <a:ext uri="{FF2B5EF4-FFF2-40B4-BE49-F238E27FC236}">
                <a16:creationId xmlns:a16="http://schemas.microsoft.com/office/drawing/2014/main" xmlns="" id="{12CFE778-8FF8-4DF9-A1EB-677364DDA109}"/>
              </a:ext>
            </a:extLst>
          </p:cNvPr>
          <p:cNvSpPr>
            <a:spLocks noChangeAspect="1" noEditPoints="1"/>
          </p:cNvSpPr>
          <p:nvPr/>
        </p:nvSpPr>
        <p:spPr bwMode="gray">
          <a:xfrm>
            <a:off x="5800360" y="3681347"/>
            <a:ext cx="620713" cy="309563"/>
          </a:xfrm>
          <a:custGeom>
            <a:avLst/>
            <a:gdLst>
              <a:gd name="T0" fmla="*/ 262 w 288"/>
              <a:gd name="T1" fmla="*/ 0 h 143"/>
              <a:gd name="T2" fmla="*/ 260 w 288"/>
              <a:gd name="T3" fmla="*/ 0 h 143"/>
              <a:gd name="T4" fmla="*/ 20 w 288"/>
              <a:gd name="T5" fmla="*/ 0 h 143"/>
              <a:gd name="T6" fmla="*/ 20 w 288"/>
              <a:gd name="T7" fmla="*/ 0 h 143"/>
              <a:gd name="T8" fmla="*/ 0 w 288"/>
              <a:gd name="T9" fmla="*/ 46 h 143"/>
              <a:gd name="T10" fmla="*/ 20 w 288"/>
              <a:gd name="T11" fmla="*/ 92 h 143"/>
              <a:gd name="T12" fmla="*/ 20 w 288"/>
              <a:gd name="T13" fmla="*/ 92 h 143"/>
              <a:gd name="T14" fmla="*/ 103 w 288"/>
              <a:gd name="T15" fmla="*/ 92 h 143"/>
              <a:gd name="T16" fmla="*/ 103 w 288"/>
              <a:gd name="T17" fmla="*/ 143 h 143"/>
              <a:gd name="T18" fmla="*/ 135 w 288"/>
              <a:gd name="T19" fmla="*/ 122 h 143"/>
              <a:gd name="T20" fmla="*/ 167 w 288"/>
              <a:gd name="T21" fmla="*/ 143 h 143"/>
              <a:gd name="T22" fmla="*/ 167 w 288"/>
              <a:gd name="T23" fmla="*/ 92 h 143"/>
              <a:gd name="T24" fmla="*/ 260 w 288"/>
              <a:gd name="T25" fmla="*/ 92 h 143"/>
              <a:gd name="T26" fmla="*/ 262 w 288"/>
              <a:gd name="T27" fmla="*/ 92 h 143"/>
              <a:gd name="T28" fmla="*/ 288 w 288"/>
              <a:gd name="T29" fmla="*/ 46 h 143"/>
              <a:gd name="T30" fmla="*/ 262 w 288"/>
              <a:gd name="T31" fmla="*/ 0 h 143"/>
              <a:gd name="T32" fmla="*/ 99 w 288"/>
              <a:gd name="T33" fmla="*/ 76 h 143"/>
              <a:gd name="T34" fmla="*/ 22 w 288"/>
              <a:gd name="T35" fmla="*/ 76 h 143"/>
              <a:gd name="T36" fmla="*/ 16 w 288"/>
              <a:gd name="T37" fmla="*/ 46 h 143"/>
              <a:gd name="T38" fmla="*/ 22 w 288"/>
              <a:gd name="T39" fmla="*/ 16 h 143"/>
              <a:gd name="T40" fmla="*/ 99 w 288"/>
              <a:gd name="T41" fmla="*/ 16 h 143"/>
              <a:gd name="T42" fmla="*/ 95 w 288"/>
              <a:gd name="T43" fmla="*/ 46 h 143"/>
              <a:gd name="T44" fmla="*/ 99 w 288"/>
              <a:gd name="T45" fmla="*/ 76 h 143"/>
              <a:gd name="T46" fmla="*/ 111 w 288"/>
              <a:gd name="T47" fmla="*/ 46 h 143"/>
              <a:gd name="T48" fmla="*/ 117 w 288"/>
              <a:gd name="T49" fmla="*/ 16 h 143"/>
              <a:gd name="T50" fmla="*/ 147 w 288"/>
              <a:gd name="T51" fmla="*/ 16 h 143"/>
              <a:gd name="T52" fmla="*/ 143 w 288"/>
              <a:gd name="T53" fmla="*/ 46 h 143"/>
              <a:gd name="T54" fmla="*/ 147 w 288"/>
              <a:gd name="T55" fmla="*/ 76 h 143"/>
              <a:gd name="T56" fmla="*/ 117 w 288"/>
              <a:gd name="T57" fmla="*/ 76 h 143"/>
              <a:gd name="T58" fmla="*/ 111 w 288"/>
              <a:gd name="T59" fmla="*/ 46 h 143"/>
              <a:gd name="T60" fmla="*/ 151 w 288"/>
              <a:gd name="T61" fmla="*/ 113 h 143"/>
              <a:gd name="T62" fmla="*/ 135 w 288"/>
              <a:gd name="T63" fmla="*/ 102 h 143"/>
              <a:gd name="T64" fmla="*/ 119 w 288"/>
              <a:gd name="T65" fmla="*/ 113 h 143"/>
              <a:gd name="T66" fmla="*/ 119 w 288"/>
              <a:gd name="T67" fmla="*/ 92 h 143"/>
              <a:gd name="T68" fmla="*/ 151 w 288"/>
              <a:gd name="T69" fmla="*/ 92 h 143"/>
              <a:gd name="T70" fmla="*/ 151 w 288"/>
              <a:gd name="T71" fmla="*/ 113 h 143"/>
              <a:gd name="T72" fmla="*/ 238 w 288"/>
              <a:gd name="T73" fmla="*/ 76 h 143"/>
              <a:gd name="T74" fmla="*/ 165 w 288"/>
              <a:gd name="T75" fmla="*/ 76 h 143"/>
              <a:gd name="T76" fmla="*/ 159 w 288"/>
              <a:gd name="T77" fmla="*/ 46 h 143"/>
              <a:gd name="T78" fmla="*/ 165 w 288"/>
              <a:gd name="T79" fmla="*/ 16 h 143"/>
              <a:gd name="T80" fmla="*/ 238 w 288"/>
              <a:gd name="T81" fmla="*/ 16 h 143"/>
              <a:gd name="T82" fmla="*/ 232 w 288"/>
              <a:gd name="T83" fmla="*/ 46 h 143"/>
              <a:gd name="T84" fmla="*/ 238 w 288"/>
              <a:gd name="T85" fmla="*/ 76 h 143"/>
              <a:gd name="T86" fmla="*/ 260 w 288"/>
              <a:gd name="T87" fmla="*/ 76 h 143"/>
              <a:gd name="T88" fmla="*/ 248 w 288"/>
              <a:gd name="T89" fmla="*/ 46 h 143"/>
              <a:gd name="T90" fmla="*/ 260 w 288"/>
              <a:gd name="T91" fmla="*/ 16 h 143"/>
              <a:gd name="T92" fmla="*/ 272 w 288"/>
              <a:gd name="T93" fmla="*/ 46 h 143"/>
              <a:gd name="T94" fmla="*/ 260 w 288"/>
              <a:gd name="T95" fmla="*/ 7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8" h="143">
                <a:moveTo>
                  <a:pt x="262" y="0"/>
                </a:moveTo>
                <a:cubicBezTo>
                  <a:pt x="261" y="0"/>
                  <a:pt x="261" y="0"/>
                  <a:pt x="260" y="0"/>
                </a:cubicBezTo>
                <a:cubicBezTo>
                  <a:pt x="20" y="0"/>
                  <a:pt x="20" y="0"/>
                  <a:pt x="20" y="0"/>
                </a:cubicBezTo>
                <a:cubicBezTo>
                  <a:pt x="20" y="0"/>
                  <a:pt x="20" y="0"/>
                  <a:pt x="20" y="0"/>
                </a:cubicBezTo>
                <a:cubicBezTo>
                  <a:pt x="5" y="0"/>
                  <a:pt x="0" y="25"/>
                  <a:pt x="0" y="46"/>
                </a:cubicBezTo>
                <a:cubicBezTo>
                  <a:pt x="0" y="67"/>
                  <a:pt x="5" y="92"/>
                  <a:pt x="20" y="92"/>
                </a:cubicBezTo>
                <a:cubicBezTo>
                  <a:pt x="20" y="92"/>
                  <a:pt x="20" y="92"/>
                  <a:pt x="20" y="92"/>
                </a:cubicBezTo>
                <a:cubicBezTo>
                  <a:pt x="103" y="92"/>
                  <a:pt x="103" y="92"/>
                  <a:pt x="103" y="92"/>
                </a:cubicBezTo>
                <a:cubicBezTo>
                  <a:pt x="103" y="143"/>
                  <a:pt x="103" y="143"/>
                  <a:pt x="103" y="143"/>
                </a:cubicBezTo>
                <a:cubicBezTo>
                  <a:pt x="135" y="122"/>
                  <a:pt x="135" y="122"/>
                  <a:pt x="135" y="122"/>
                </a:cubicBezTo>
                <a:cubicBezTo>
                  <a:pt x="167" y="143"/>
                  <a:pt x="167" y="143"/>
                  <a:pt x="167" y="143"/>
                </a:cubicBezTo>
                <a:cubicBezTo>
                  <a:pt x="167" y="92"/>
                  <a:pt x="167" y="92"/>
                  <a:pt x="167" y="92"/>
                </a:cubicBezTo>
                <a:cubicBezTo>
                  <a:pt x="260" y="92"/>
                  <a:pt x="260" y="92"/>
                  <a:pt x="260" y="92"/>
                </a:cubicBezTo>
                <a:cubicBezTo>
                  <a:pt x="261" y="92"/>
                  <a:pt x="261" y="92"/>
                  <a:pt x="262" y="92"/>
                </a:cubicBezTo>
                <a:cubicBezTo>
                  <a:pt x="277" y="90"/>
                  <a:pt x="288" y="71"/>
                  <a:pt x="288" y="46"/>
                </a:cubicBezTo>
                <a:cubicBezTo>
                  <a:pt x="288" y="21"/>
                  <a:pt x="277" y="2"/>
                  <a:pt x="262" y="0"/>
                </a:cubicBezTo>
                <a:close/>
                <a:moveTo>
                  <a:pt x="99" y="76"/>
                </a:moveTo>
                <a:cubicBezTo>
                  <a:pt x="22" y="76"/>
                  <a:pt x="22" y="76"/>
                  <a:pt x="22" y="76"/>
                </a:cubicBezTo>
                <a:cubicBezTo>
                  <a:pt x="20" y="73"/>
                  <a:pt x="16" y="62"/>
                  <a:pt x="16" y="46"/>
                </a:cubicBezTo>
                <a:cubicBezTo>
                  <a:pt x="16" y="30"/>
                  <a:pt x="20" y="19"/>
                  <a:pt x="22" y="16"/>
                </a:cubicBezTo>
                <a:cubicBezTo>
                  <a:pt x="99" y="16"/>
                  <a:pt x="99" y="16"/>
                  <a:pt x="99" y="16"/>
                </a:cubicBezTo>
                <a:cubicBezTo>
                  <a:pt x="96" y="27"/>
                  <a:pt x="95" y="42"/>
                  <a:pt x="95" y="46"/>
                </a:cubicBezTo>
                <a:cubicBezTo>
                  <a:pt x="95" y="50"/>
                  <a:pt x="96" y="65"/>
                  <a:pt x="99" y="76"/>
                </a:cubicBezTo>
                <a:close/>
                <a:moveTo>
                  <a:pt x="111" y="46"/>
                </a:moveTo>
                <a:cubicBezTo>
                  <a:pt x="111" y="30"/>
                  <a:pt x="114" y="19"/>
                  <a:pt x="117" y="16"/>
                </a:cubicBezTo>
                <a:cubicBezTo>
                  <a:pt x="147" y="16"/>
                  <a:pt x="147" y="16"/>
                  <a:pt x="147" y="16"/>
                </a:cubicBezTo>
                <a:cubicBezTo>
                  <a:pt x="144" y="27"/>
                  <a:pt x="143" y="42"/>
                  <a:pt x="143" y="46"/>
                </a:cubicBezTo>
                <a:cubicBezTo>
                  <a:pt x="143" y="50"/>
                  <a:pt x="144" y="65"/>
                  <a:pt x="147" y="76"/>
                </a:cubicBezTo>
                <a:cubicBezTo>
                  <a:pt x="117" y="76"/>
                  <a:pt x="117" y="76"/>
                  <a:pt x="117" y="76"/>
                </a:cubicBezTo>
                <a:cubicBezTo>
                  <a:pt x="114" y="73"/>
                  <a:pt x="111" y="62"/>
                  <a:pt x="111" y="46"/>
                </a:cubicBezTo>
                <a:close/>
                <a:moveTo>
                  <a:pt x="151" y="113"/>
                </a:moveTo>
                <a:cubicBezTo>
                  <a:pt x="135" y="102"/>
                  <a:pt x="135" y="102"/>
                  <a:pt x="135" y="102"/>
                </a:cubicBezTo>
                <a:cubicBezTo>
                  <a:pt x="119" y="113"/>
                  <a:pt x="119" y="113"/>
                  <a:pt x="119" y="113"/>
                </a:cubicBezTo>
                <a:cubicBezTo>
                  <a:pt x="119" y="92"/>
                  <a:pt x="119" y="92"/>
                  <a:pt x="119" y="92"/>
                </a:cubicBezTo>
                <a:cubicBezTo>
                  <a:pt x="151" y="92"/>
                  <a:pt x="151" y="92"/>
                  <a:pt x="151" y="92"/>
                </a:cubicBezTo>
                <a:lnTo>
                  <a:pt x="151" y="113"/>
                </a:lnTo>
                <a:close/>
                <a:moveTo>
                  <a:pt x="238" y="76"/>
                </a:moveTo>
                <a:cubicBezTo>
                  <a:pt x="165" y="76"/>
                  <a:pt x="165" y="76"/>
                  <a:pt x="165" y="76"/>
                </a:cubicBezTo>
                <a:cubicBezTo>
                  <a:pt x="162" y="73"/>
                  <a:pt x="159" y="62"/>
                  <a:pt x="159" y="46"/>
                </a:cubicBezTo>
                <a:cubicBezTo>
                  <a:pt x="159" y="30"/>
                  <a:pt x="162" y="19"/>
                  <a:pt x="165" y="16"/>
                </a:cubicBezTo>
                <a:cubicBezTo>
                  <a:pt x="238" y="16"/>
                  <a:pt x="238" y="16"/>
                  <a:pt x="238" y="16"/>
                </a:cubicBezTo>
                <a:cubicBezTo>
                  <a:pt x="234" y="24"/>
                  <a:pt x="232" y="34"/>
                  <a:pt x="232" y="46"/>
                </a:cubicBezTo>
                <a:cubicBezTo>
                  <a:pt x="232" y="58"/>
                  <a:pt x="234" y="68"/>
                  <a:pt x="238" y="76"/>
                </a:cubicBezTo>
                <a:close/>
                <a:moveTo>
                  <a:pt x="260" y="76"/>
                </a:moveTo>
                <a:cubicBezTo>
                  <a:pt x="255" y="76"/>
                  <a:pt x="248" y="64"/>
                  <a:pt x="248" y="46"/>
                </a:cubicBezTo>
                <a:cubicBezTo>
                  <a:pt x="248" y="28"/>
                  <a:pt x="255" y="16"/>
                  <a:pt x="260" y="16"/>
                </a:cubicBezTo>
                <a:cubicBezTo>
                  <a:pt x="265" y="16"/>
                  <a:pt x="272" y="28"/>
                  <a:pt x="272" y="46"/>
                </a:cubicBezTo>
                <a:cubicBezTo>
                  <a:pt x="272" y="64"/>
                  <a:pt x="265" y="76"/>
                  <a:pt x="260" y="76"/>
                </a:cubicBezTo>
                <a:close/>
              </a:path>
            </a:pathLst>
          </a:custGeom>
          <a:solidFill>
            <a:srgbClr val="009AD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Google Shape;458;p15">
            <a:extLst>
              <a:ext uri="{FF2B5EF4-FFF2-40B4-BE49-F238E27FC236}">
                <a16:creationId xmlns:a16="http://schemas.microsoft.com/office/drawing/2014/main" xmlns="" id="{B3550FB5-7C48-4259-A852-C66F2DFFF507}"/>
              </a:ext>
            </a:extLst>
          </p:cNvPr>
          <p:cNvSpPr/>
          <p:nvPr/>
        </p:nvSpPr>
        <p:spPr bwMode="gray">
          <a:xfrm>
            <a:off x="457199" y="4839596"/>
            <a:ext cx="11283696" cy="731520"/>
          </a:xfrm>
          <a:prstGeom prst="rect">
            <a:avLst/>
          </a:prstGeom>
          <a:solidFill>
            <a:srgbClr val="009AD7"/>
          </a:solidFill>
          <a:ln w="25400" cap="flat" cmpd="sng">
            <a:noFill/>
            <a:prstDash val="solid"/>
            <a:miter lim="800000"/>
            <a:headEnd type="none" w="sm" len="sm"/>
            <a:tailEnd type="none" w="sm" len="sm"/>
          </a:ln>
        </p:spPr>
        <p:txBody>
          <a:bodyPr spcFirstLastPara="1" wrap="square" lIns="91440" tIns="91440" rIns="91440" bIns="91440" anchor="ctr" anchorCtr="0">
            <a:noAutofit/>
          </a:bodyPr>
          <a:lstStyle/>
          <a:p>
            <a:pPr marL="0" marR="0" lvl="0" indent="0" algn="ctr">
              <a:spcBef>
                <a:spcPts val="0"/>
              </a:spcBef>
              <a:spcAft>
                <a:spcPts val="0"/>
              </a:spcAft>
              <a:buNone/>
            </a:pPr>
            <a:r>
              <a:rPr lang="en-US" sz="2000" b="1" dirty="0">
                <a:solidFill>
                  <a:srgbClr val="002856"/>
                </a:solidFill>
                <a:latin typeface="Arial" panose="020B0604020202020204" pitchFamily="34" charset="0"/>
                <a:ea typeface="Arial"/>
                <a:cs typeface="Arial" panose="020B0604020202020204" pitchFamily="34" charset="0"/>
                <a:sym typeface="Arial"/>
              </a:rPr>
              <a:t>IT Job Architecture</a:t>
            </a:r>
            <a:endParaRPr lang="en-US" sz="2000" b="1" dirty="0">
              <a:solidFill>
                <a:srgbClr val="00285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285632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B43119AF-708F-40CE-BC87-6CB342227959}"/>
              </a:ext>
            </a:extLst>
          </p:cNvPr>
          <p:cNvGraphicFramePr>
            <a:graphicFrameLocks noChangeAspect="1"/>
          </p:cNvGraphicFramePr>
          <p:nvPr>
            <p:custDataLst>
              <p:tags r:id="rId2"/>
            </p:custDataLst>
            <p:extLst>
              <p:ext uri="{D42A27DB-BD31-4B8C-83A1-F6EECF244321}">
                <p14:modId xmlns:p14="http://schemas.microsoft.com/office/powerpoint/2010/main" val="996046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4"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B43119AF-708F-40CE-BC87-6CB3422279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9F535A45-4019-49EE-9BD5-C5EEE6FEAEE8}"/>
              </a:ext>
            </a:extLst>
          </p:cNvPr>
          <p:cNvSpPr>
            <a:spLocks noGrp="1"/>
          </p:cNvSpPr>
          <p:nvPr>
            <p:ph type="title"/>
          </p:nvPr>
        </p:nvSpPr>
        <p:spPr bwMode="gray"/>
        <p:txBody>
          <a:bodyPr vert="horz"/>
          <a:lstStyle/>
          <a:p>
            <a:r>
              <a:rPr lang="en-US" dirty="0"/>
              <a:t>A Solid IT Job Architecture Is a Prerequisite to Successful Digital Transformation</a:t>
            </a:r>
          </a:p>
        </p:txBody>
      </p:sp>
      <p:sp>
        <p:nvSpPr>
          <p:cNvPr id="6" name="Text Placeholder 2">
            <a:extLst>
              <a:ext uri="{FF2B5EF4-FFF2-40B4-BE49-F238E27FC236}">
                <a16:creationId xmlns:a16="http://schemas.microsoft.com/office/drawing/2014/main" xmlns="" id="{2D5EB54C-496D-4172-B3A2-49803235CC69}"/>
              </a:ext>
            </a:extLst>
          </p:cNvPr>
          <p:cNvSpPr txBox="1">
            <a:spLocks/>
          </p:cNvSpPr>
          <p:nvPr/>
        </p:nvSpPr>
        <p:spPr bwMode="gray">
          <a:xfrm>
            <a:off x="457200" y="1462522"/>
            <a:ext cx="4520292" cy="592775"/>
          </a:xfrm>
          <a:prstGeom prst="rect">
            <a:avLst/>
          </a:prstGeom>
          <a:noFill/>
          <a:ln w="25400" cap="flat" cmpd="sng" algn="ctr">
            <a:noFill/>
            <a:prstDash val="solid"/>
          </a:ln>
        </p:spPr>
        <p:style>
          <a:lnRef idx="2">
            <a:schemeClr val="dk1"/>
          </a:lnRef>
          <a:fillRef idx="1">
            <a:schemeClr val="lt1"/>
          </a:fillRef>
          <a:effectRef idx="0">
            <a:schemeClr val="dk1"/>
          </a:effectRef>
          <a:fontRef idx="minor">
            <a:schemeClr val="dk1"/>
          </a:fontRef>
        </p:style>
        <p:txBody>
          <a:bodyPr lIns="0" tIns="0" rIns="0" bIns="0" anchor="t"/>
          <a:lstStyle>
            <a:lvl1pPr marL="274306" marR="0" indent="-274306" algn="l" rtl="0" eaLnBrk="1" fontAlgn="base" hangingPunct="1">
              <a:lnSpc>
                <a:spcPct val="100000"/>
              </a:lnSpc>
              <a:spcBef>
                <a:spcPts val="0"/>
              </a:spcBef>
              <a:spcAft>
                <a:spcPts val="1200"/>
              </a:spcAft>
              <a:buClr>
                <a:srgbClr val="00529B"/>
              </a:buClr>
              <a:buSzPct val="90000"/>
              <a:buFont typeface="Wingdings" panose="05000000000000000000" pitchFamily="2" charset="2"/>
              <a:buChar char="§"/>
              <a:defRPr lang="en-US" sz="2800" dirty="0" smtClean="0">
                <a:solidFill>
                  <a:schemeClr val="dk1"/>
                </a:solidFill>
                <a:latin typeface="+mn-lt"/>
                <a:ea typeface="+mn-ea"/>
                <a:cs typeface="+mn-cs"/>
              </a:defRPr>
            </a:lvl1pPr>
            <a:lvl2pPr marL="640080" marR="0" indent="-274320" algn="l" rtl="0" eaLnBrk="1" fontAlgn="base" hangingPunct="1">
              <a:lnSpc>
                <a:spcPct val="100000"/>
              </a:lnSpc>
              <a:spcBef>
                <a:spcPts val="0"/>
              </a:spcBef>
              <a:spcAft>
                <a:spcPts val="1200"/>
              </a:spcAft>
              <a:buClrTx/>
              <a:buSzPct val="90000"/>
              <a:buFont typeface="Arial" panose="020B0604020202020204" pitchFamily="34" charset="0"/>
              <a:buChar char="–"/>
              <a:tabLst/>
              <a:defRPr lang="en-US" sz="2400" dirty="0" smtClean="0">
                <a:solidFill>
                  <a:schemeClr val="dk1"/>
                </a:solidFill>
                <a:latin typeface="+mn-lt"/>
                <a:ea typeface="+mn-ea"/>
                <a:cs typeface="+mn-cs"/>
              </a:defRPr>
            </a:lvl2pPr>
            <a:lvl3pPr marL="91440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dk1"/>
                </a:solidFill>
                <a:latin typeface="+mn-lt"/>
                <a:ea typeface="+mn-ea"/>
                <a:cs typeface="+mn-cs"/>
              </a:defRPr>
            </a:lvl3pPr>
            <a:lvl4pPr marL="1234440" marR="0" indent="-274320" algn="l" rtl="0" eaLnBrk="1" fontAlgn="base" hangingPunct="1">
              <a:lnSpc>
                <a:spcPct val="100000"/>
              </a:lnSpc>
              <a:spcBef>
                <a:spcPts val="0"/>
              </a:spcBef>
              <a:spcAft>
                <a:spcPts val="1200"/>
              </a:spcAft>
              <a:buClrTx/>
              <a:buSzPct val="90000"/>
              <a:buFont typeface="Arial" panose="020B0604020202020204" pitchFamily="34" charset="0"/>
              <a:buChar char="–"/>
              <a:defRPr lang="en-US" sz="2200" baseline="0" dirty="0" smtClean="0">
                <a:solidFill>
                  <a:schemeClr val="dk1"/>
                </a:solidFill>
                <a:latin typeface="+mn-lt"/>
                <a:ea typeface="+mn-ea"/>
                <a:cs typeface="+mn-cs"/>
              </a:defRPr>
            </a:lvl4pPr>
            <a:lvl5pPr marL="150876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dk1"/>
                </a:solidFill>
                <a:latin typeface="+mn-lt"/>
                <a:ea typeface="+mn-ea"/>
                <a:cs typeface="+mn-cs"/>
              </a:defRPr>
            </a:lvl5pPr>
            <a:lvl6pPr marL="1954115"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dk1"/>
                </a:solidFill>
                <a:latin typeface="+mn-lt"/>
                <a:ea typeface="+mn-ea"/>
                <a:cs typeface="+mn-cs"/>
              </a:defRPr>
            </a:lvl6pPr>
            <a:lvl7pPr marL="2411293"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dk1"/>
                </a:solidFill>
                <a:latin typeface="+mn-lt"/>
                <a:ea typeface="+mn-ea"/>
                <a:cs typeface="+mn-cs"/>
              </a:defRPr>
            </a:lvl7pPr>
            <a:lvl8pPr marL="2868471"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dk1"/>
                </a:solidFill>
                <a:latin typeface="+mn-lt"/>
                <a:ea typeface="+mn-ea"/>
                <a:cs typeface="+mn-cs"/>
              </a:defRPr>
            </a:lvl8pPr>
            <a:lvl9pPr marL="3325648"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dk1"/>
                </a:solidFill>
                <a:latin typeface="+mn-lt"/>
                <a:ea typeface="+mn-ea"/>
                <a:cs typeface="+mn-cs"/>
              </a:defRPr>
            </a:lvl9pPr>
          </a:lstStyle>
          <a:p>
            <a:pPr marL="0" indent="0">
              <a:spcAft>
                <a:spcPts val="0"/>
              </a:spcAft>
              <a:buClr>
                <a:schemeClr val="tx2"/>
              </a:buClr>
              <a:buSzPct val="100000"/>
              <a:buNone/>
            </a:pPr>
            <a:r>
              <a:rPr lang="en-US" sz="1400" kern="0" dirty="0">
                <a:solidFill>
                  <a:schemeClr val="tx1"/>
                </a:solidFill>
              </a:rPr>
              <a:t>Accelerating organizational digital transformation with clear responsibilities and identified gaps for workforce upskilling/reskilling and new talent acquisition </a:t>
            </a:r>
          </a:p>
        </p:txBody>
      </p:sp>
      <p:sp>
        <p:nvSpPr>
          <p:cNvPr id="8" name="Text Placeholder 2">
            <a:extLst>
              <a:ext uri="{FF2B5EF4-FFF2-40B4-BE49-F238E27FC236}">
                <a16:creationId xmlns:a16="http://schemas.microsoft.com/office/drawing/2014/main" xmlns="" id="{AA8A8308-9F9C-4D50-9C33-7170A6D4CD4B}"/>
              </a:ext>
            </a:extLst>
          </p:cNvPr>
          <p:cNvSpPr txBox="1">
            <a:spLocks/>
          </p:cNvSpPr>
          <p:nvPr/>
        </p:nvSpPr>
        <p:spPr bwMode="gray">
          <a:xfrm>
            <a:off x="7337798" y="2390705"/>
            <a:ext cx="4395415" cy="701678"/>
          </a:xfrm>
          <a:prstGeom prst="rect">
            <a:avLst/>
          </a:prstGeom>
          <a:noFill/>
          <a:ln w="25400" cap="flat" cmpd="sng" algn="ctr">
            <a:noFill/>
            <a:prstDash val="solid"/>
          </a:ln>
        </p:spPr>
        <p:style>
          <a:lnRef idx="2">
            <a:schemeClr val="dk1"/>
          </a:lnRef>
          <a:fillRef idx="1">
            <a:schemeClr val="lt1"/>
          </a:fillRef>
          <a:effectRef idx="0">
            <a:schemeClr val="dk1"/>
          </a:effectRef>
          <a:fontRef idx="minor">
            <a:schemeClr val="dk1"/>
          </a:fontRef>
        </p:style>
        <p:txBody>
          <a:bodyPr lIns="0" tIns="0" rIns="0" bIns="0" anchor="ctr"/>
          <a:lstStyle>
            <a:lvl1pPr marL="274306" marR="0" indent="-274306" algn="l" rtl="0" eaLnBrk="1" fontAlgn="base" hangingPunct="1">
              <a:lnSpc>
                <a:spcPct val="100000"/>
              </a:lnSpc>
              <a:spcBef>
                <a:spcPts val="0"/>
              </a:spcBef>
              <a:spcAft>
                <a:spcPts val="1200"/>
              </a:spcAft>
              <a:buClr>
                <a:srgbClr val="00529B"/>
              </a:buClr>
              <a:buSzPct val="90000"/>
              <a:buFont typeface="Wingdings" panose="05000000000000000000" pitchFamily="2" charset="2"/>
              <a:buChar char="§"/>
              <a:defRPr lang="en-US" sz="2800" dirty="0" smtClean="0">
                <a:solidFill>
                  <a:schemeClr val="dk1"/>
                </a:solidFill>
                <a:latin typeface="+mn-lt"/>
                <a:ea typeface="+mn-ea"/>
                <a:cs typeface="+mn-cs"/>
              </a:defRPr>
            </a:lvl1pPr>
            <a:lvl2pPr marL="640080" marR="0" indent="-274320" algn="l" rtl="0" eaLnBrk="1" fontAlgn="base" hangingPunct="1">
              <a:lnSpc>
                <a:spcPct val="100000"/>
              </a:lnSpc>
              <a:spcBef>
                <a:spcPts val="0"/>
              </a:spcBef>
              <a:spcAft>
                <a:spcPts val="1200"/>
              </a:spcAft>
              <a:buClrTx/>
              <a:buSzPct val="90000"/>
              <a:buFont typeface="Arial" panose="020B0604020202020204" pitchFamily="34" charset="0"/>
              <a:buChar char="–"/>
              <a:tabLst/>
              <a:defRPr lang="en-US" sz="2400" dirty="0" smtClean="0">
                <a:solidFill>
                  <a:schemeClr val="dk1"/>
                </a:solidFill>
                <a:latin typeface="+mn-lt"/>
                <a:ea typeface="+mn-ea"/>
                <a:cs typeface="+mn-cs"/>
              </a:defRPr>
            </a:lvl2pPr>
            <a:lvl3pPr marL="91440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dk1"/>
                </a:solidFill>
                <a:latin typeface="+mn-lt"/>
                <a:ea typeface="+mn-ea"/>
                <a:cs typeface="+mn-cs"/>
              </a:defRPr>
            </a:lvl3pPr>
            <a:lvl4pPr marL="1234440" marR="0" indent="-274320" algn="l" rtl="0" eaLnBrk="1" fontAlgn="base" hangingPunct="1">
              <a:lnSpc>
                <a:spcPct val="100000"/>
              </a:lnSpc>
              <a:spcBef>
                <a:spcPts val="0"/>
              </a:spcBef>
              <a:spcAft>
                <a:spcPts val="1200"/>
              </a:spcAft>
              <a:buClrTx/>
              <a:buSzPct val="90000"/>
              <a:buFont typeface="Arial" panose="020B0604020202020204" pitchFamily="34" charset="0"/>
              <a:buChar char="–"/>
              <a:defRPr lang="en-US" sz="2200" baseline="0" dirty="0" smtClean="0">
                <a:solidFill>
                  <a:schemeClr val="dk1"/>
                </a:solidFill>
                <a:latin typeface="+mn-lt"/>
                <a:ea typeface="+mn-ea"/>
                <a:cs typeface="+mn-cs"/>
              </a:defRPr>
            </a:lvl4pPr>
            <a:lvl5pPr marL="150876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dk1"/>
                </a:solidFill>
                <a:latin typeface="+mn-lt"/>
                <a:ea typeface="+mn-ea"/>
                <a:cs typeface="+mn-cs"/>
              </a:defRPr>
            </a:lvl5pPr>
            <a:lvl6pPr marL="1954115"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dk1"/>
                </a:solidFill>
                <a:latin typeface="+mn-lt"/>
                <a:ea typeface="+mn-ea"/>
                <a:cs typeface="+mn-cs"/>
              </a:defRPr>
            </a:lvl6pPr>
            <a:lvl7pPr marL="2411293"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dk1"/>
                </a:solidFill>
                <a:latin typeface="+mn-lt"/>
                <a:ea typeface="+mn-ea"/>
                <a:cs typeface="+mn-cs"/>
              </a:defRPr>
            </a:lvl7pPr>
            <a:lvl8pPr marL="2868471"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dk1"/>
                </a:solidFill>
                <a:latin typeface="+mn-lt"/>
                <a:ea typeface="+mn-ea"/>
                <a:cs typeface="+mn-cs"/>
              </a:defRPr>
            </a:lvl8pPr>
            <a:lvl9pPr marL="3325648"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dk1"/>
                </a:solidFill>
                <a:latin typeface="+mn-lt"/>
                <a:ea typeface="+mn-ea"/>
                <a:cs typeface="+mn-cs"/>
              </a:defRPr>
            </a:lvl9pPr>
          </a:lstStyle>
          <a:p>
            <a:pPr marL="0" indent="0">
              <a:spcAft>
                <a:spcPts val="0"/>
              </a:spcAft>
              <a:buClr>
                <a:schemeClr val="tx2"/>
              </a:buClr>
              <a:buSzPct val="100000"/>
              <a:buNone/>
            </a:pPr>
            <a:r>
              <a:rPr lang="en-US" sz="1400" kern="0" dirty="0">
                <a:solidFill>
                  <a:schemeClr val="tx1"/>
                </a:solidFill>
              </a:rPr>
              <a:t>Helping identify, attract, and retain the candidates/ employees with right skills and competencies</a:t>
            </a:r>
          </a:p>
        </p:txBody>
      </p:sp>
      <p:sp>
        <p:nvSpPr>
          <p:cNvPr id="10" name="Text Placeholder 2">
            <a:extLst>
              <a:ext uri="{FF2B5EF4-FFF2-40B4-BE49-F238E27FC236}">
                <a16:creationId xmlns:a16="http://schemas.microsoft.com/office/drawing/2014/main" xmlns="" id="{1EC123DD-182A-4CED-9D29-1909771859AB}"/>
              </a:ext>
            </a:extLst>
          </p:cNvPr>
          <p:cNvSpPr txBox="1">
            <a:spLocks/>
          </p:cNvSpPr>
          <p:nvPr/>
        </p:nvSpPr>
        <p:spPr bwMode="gray">
          <a:xfrm>
            <a:off x="7337797" y="4349573"/>
            <a:ext cx="4395416" cy="525261"/>
          </a:xfrm>
          <a:prstGeom prst="rect">
            <a:avLst/>
          </a:prstGeom>
          <a:noFill/>
          <a:ln w="25400" cap="flat" cmpd="sng" algn="ctr">
            <a:noFill/>
            <a:prstDash val="solid"/>
          </a:ln>
        </p:spPr>
        <p:style>
          <a:lnRef idx="2">
            <a:schemeClr val="dk1"/>
          </a:lnRef>
          <a:fillRef idx="1">
            <a:schemeClr val="lt1"/>
          </a:fillRef>
          <a:effectRef idx="0">
            <a:schemeClr val="dk1"/>
          </a:effectRef>
          <a:fontRef idx="minor">
            <a:schemeClr val="dk1"/>
          </a:fontRef>
        </p:style>
        <p:txBody>
          <a:bodyPr lIns="0" tIns="0" rIns="0" bIns="0" anchor="ctr"/>
          <a:lstStyle>
            <a:lvl1pPr marL="274306" marR="0" indent="-274306" algn="l" rtl="0" eaLnBrk="1" fontAlgn="base" hangingPunct="1">
              <a:lnSpc>
                <a:spcPct val="100000"/>
              </a:lnSpc>
              <a:spcBef>
                <a:spcPts val="0"/>
              </a:spcBef>
              <a:spcAft>
                <a:spcPts val="1200"/>
              </a:spcAft>
              <a:buClr>
                <a:srgbClr val="00529B"/>
              </a:buClr>
              <a:buSzPct val="90000"/>
              <a:buFont typeface="Wingdings" panose="05000000000000000000" pitchFamily="2" charset="2"/>
              <a:buChar char="§"/>
              <a:defRPr lang="en-US" sz="2800" dirty="0" smtClean="0">
                <a:solidFill>
                  <a:schemeClr val="dk1"/>
                </a:solidFill>
                <a:latin typeface="+mn-lt"/>
                <a:ea typeface="+mn-ea"/>
                <a:cs typeface="+mn-cs"/>
              </a:defRPr>
            </a:lvl1pPr>
            <a:lvl2pPr marL="640080" marR="0" indent="-274320" algn="l" rtl="0" eaLnBrk="1" fontAlgn="base" hangingPunct="1">
              <a:lnSpc>
                <a:spcPct val="100000"/>
              </a:lnSpc>
              <a:spcBef>
                <a:spcPts val="0"/>
              </a:spcBef>
              <a:spcAft>
                <a:spcPts val="1200"/>
              </a:spcAft>
              <a:buClrTx/>
              <a:buSzPct val="90000"/>
              <a:buFont typeface="Arial" panose="020B0604020202020204" pitchFamily="34" charset="0"/>
              <a:buChar char="–"/>
              <a:tabLst/>
              <a:defRPr lang="en-US" sz="2400" dirty="0" smtClean="0">
                <a:solidFill>
                  <a:schemeClr val="dk1"/>
                </a:solidFill>
                <a:latin typeface="+mn-lt"/>
                <a:ea typeface="+mn-ea"/>
                <a:cs typeface="+mn-cs"/>
              </a:defRPr>
            </a:lvl2pPr>
            <a:lvl3pPr marL="91440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dk1"/>
                </a:solidFill>
                <a:latin typeface="+mn-lt"/>
                <a:ea typeface="+mn-ea"/>
                <a:cs typeface="+mn-cs"/>
              </a:defRPr>
            </a:lvl3pPr>
            <a:lvl4pPr marL="1234440" marR="0" indent="-274320" algn="l" rtl="0" eaLnBrk="1" fontAlgn="base" hangingPunct="1">
              <a:lnSpc>
                <a:spcPct val="100000"/>
              </a:lnSpc>
              <a:spcBef>
                <a:spcPts val="0"/>
              </a:spcBef>
              <a:spcAft>
                <a:spcPts val="1200"/>
              </a:spcAft>
              <a:buClrTx/>
              <a:buSzPct val="90000"/>
              <a:buFont typeface="Arial" panose="020B0604020202020204" pitchFamily="34" charset="0"/>
              <a:buChar char="–"/>
              <a:defRPr lang="en-US" sz="2200" baseline="0" dirty="0" smtClean="0">
                <a:solidFill>
                  <a:schemeClr val="dk1"/>
                </a:solidFill>
                <a:latin typeface="+mn-lt"/>
                <a:ea typeface="+mn-ea"/>
                <a:cs typeface="+mn-cs"/>
              </a:defRPr>
            </a:lvl4pPr>
            <a:lvl5pPr marL="150876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dk1"/>
                </a:solidFill>
                <a:latin typeface="+mn-lt"/>
                <a:ea typeface="+mn-ea"/>
                <a:cs typeface="+mn-cs"/>
              </a:defRPr>
            </a:lvl5pPr>
            <a:lvl6pPr marL="1954115"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dk1"/>
                </a:solidFill>
                <a:latin typeface="+mn-lt"/>
                <a:ea typeface="+mn-ea"/>
                <a:cs typeface="+mn-cs"/>
              </a:defRPr>
            </a:lvl6pPr>
            <a:lvl7pPr marL="2411293"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dk1"/>
                </a:solidFill>
                <a:latin typeface="+mn-lt"/>
                <a:ea typeface="+mn-ea"/>
                <a:cs typeface="+mn-cs"/>
              </a:defRPr>
            </a:lvl7pPr>
            <a:lvl8pPr marL="2868471"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dk1"/>
                </a:solidFill>
                <a:latin typeface="+mn-lt"/>
                <a:ea typeface="+mn-ea"/>
                <a:cs typeface="+mn-cs"/>
              </a:defRPr>
            </a:lvl8pPr>
            <a:lvl9pPr marL="3325648"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dk1"/>
                </a:solidFill>
                <a:latin typeface="+mn-lt"/>
                <a:ea typeface="+mn-ea"/>
                <a:cs typeface="+mn-cs"/>
              </a:defRPr>
            </a:lvl9pPr>
          </a:lstStyle>
          <a:p>
            <a:pPr marL="0" indent="0">
              <a:spcAft>
                <a:spcPts val="0"/>
              </a:spcAft>
              <a:buClr>
                <a:schemeClr val="tx2"/>
              </a:buClr>
              <a:buSzPct val="100000"/>
              <a:buNone/>
            </a:pPr>
            <a:r>
              <a:rPr lang="en-US" sz="1400" kern="0" dirty="0">
                <a:solidFill>
                  <a:schemeClr val="tx1"/>
                </a:solidFill>
              </a:rPr>
              <a:t>Coordinating changes in roles and responsibilities through updated job materials, and preventing people from “self-defining” their jobs</a:t>
            </a:r>
          </a:p>
        </p:txBody>
      </p:sp>
      <p:sp>
        <p:nvSpPr>
          <p:cNvPr id="11" name="Text Placeholder 2">
            <a:extLst>
              <a:ext uri="{FF2B5EF4-FFF2-40B4-BE49-F238E27FC236}">
                <a16:creationId xmlns:a16="http://schemas.microsoft.com/office/drawing/2014/main" xmlns="" id="{BFF04DB0-C9DB-4170-A427-E6107CAD1261}"/>
              </a:ext>
            </a:extLst>
          </p:cNvPr>
          <p:cNvSpPr txBox="1">
            <a:spLocks/>
          </p:cNvSpPr>
          <p:nvPr/>
        </p:nvSpPr>
        <p:spPr bwMode="gray">
          <a:xfrm>
            <a:off x="460888" y="3388063"/>
            <a:ext cx="4202042" cy="551986"/>
          </a:xfrm>
          <a:prstGeom prst="rect">
            <a:avLst/>
          </a:prstGeom>
          <a:noFill/>
          <a:ln w="25400" cap="flat" cmpd="sng" algn="ctr">
            <a:noFill/>
            <a:prstDash val="solid"/>
          </a:ln>
        </p:spPr>
        <p:style>
          <a:lnRef idx="2">
            <a:schemeClr val="dk1"/>
          </a:lnRef>
          <a:fillRef idx="1">
            <a:schemeClr val="lt1"/>
          </a:fillRef>
          <a:effectRef idx="0">
            <a:schemeClr val="dk1"/>
          </a:effectRef>
          <a:fontRef idx="minor">
            <a:schemeClr val="dk1"/>
          </a:fontRef>
        </p:style>
        <p:txBody>
          <a:bodyPr lIns="0" tIns="0" rIns="0" bIns="0" anchor="t"/>
          <a:lstStyle>
            <a:lvl1pPr marL="274306" marR="0" indent="-274306" algn="l" rtl="0" eaLnBrk="1" fontAlgn="base" hangingPunct="1">
              <a:lnSpc>
                <a:spcPct val="100000"/>
              </a:lnSpc>
              <a:spcBef>
                <a:spcPts val="0"/>
              </a:spcBef>
              <a:spcAft>
                <a:spcPts val="1200"/>
              </a:spcAft>
              <a:buClr>
                <a:srgbClr val="00529B"/>
              </a:buClr>
              <a:buSzPct val="90000"/>
              <a:buFont typeface="Wingdings" panose="05000000000000000000" pitchFamily="2" charset="2"/>
              <a:buChar char="§"/>
              <a:defRPr lang="en-US" sz="2800" dirty="0" smtClean="0">
                <a:solidFill>
                  <a:schemeClr val="dk1"/>
                </a:solidFill>
                <a:latin typeface="+mn-lt"/>
                <a:ea typeface="+mn-ea"/>
                <a:cs typeface="+mn-cs"/>
              </a:defRPr>
            </a:lvl1pPr>
            <a:lvl2pPr marL="640080" marR="0" indent="-274320" algn="l" rtl="0" eaLnBrk="1" fontAlgn="base" hangingPunct="1">
              <a:lnSpc>
                <a:spcPct val="100000"/>
              </a:lnSpc>
              <a:spcBef>
                <a:spcPts val="0"/>
              </a:spcBef>
              <a:spcAft>
                <a:spcPts val="1200"/>
              </a:spcAft>
              <a:buClrTx/>
              <a:buSzPct val="90000"/>
              <a:buFont typeface="Arial" panose="020B0604020202020204" pitchFamily="34" charset="0"/>
              <a:buChar char="–"/>
              <a:tabLst/>
              <a:defRPr lang="en-US" sz="2400" dirty="0" smtClean="0">
                <a:solidFill>
                  <a:schemeClr val="dk1"/>
                </a:solidFill>
                <a:latin typeface="+mn-lt"/>
                <a:ea typeface="+mn-ea"/>
                <a:cs typeface="+mn-cs"/>
              </a:defRPr>
            </a:lvl2pPr>
            <a:lvl3pPr marL="91440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dk1"/>
                </a:solidFill>
                <a:latin typeface="+mn-lt"/>
                <a:ea typeface="+mn-ea"/>
                <a:cs typeface="+mn-cs"/>
              </a:defRPr>
            </a:lvl3pPr>
            <a:lvl4pPr marL="1234440" marR="0" indent="-274320" algn="l" rtl="0" eaLnBrk="1" fontAlgn="base" hangingPunct="1">
              <a:lnSpc>
                <a:spcPct val="100000"/>
              </a:lnSpc>
              <a:spcBef>
                <a:spcPts val="0"/>
              </a:spcBef>
              <a:spcAft>
                <a:spcPts val="1200"/>
              </a:spcAft>
              <a:buClrTx/>
              <a:buSzPct val="90000"/>
              <a:buFont typeface="Arial" panose="020B0604020202020204" pitchFamily="34" charset="0"/>
              <a:buChar char="–"/>
              <a:defRPr lang="en-US" sz="2200" baseline="0" dirty="0" smtClean="0">
                <a:solidFill>
                  <a:schemeClr val="dk1"/>
                </a:solidFill>
                <a:latin typeface="+mn-lt"/>
                <a:ea typeface="+mn-ea"/>
                <a:cs typeface="+mn-cs"/>
              </a:defRPr>
            </a:lvl4pPr>
            <a:lvl5pPr marL="150876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dk1"/>
                </a:solidFill>
                <a:latin typeface="+mn-lt"/>
                <a:ea typeface="+mn-ea"/>
                <a:cs typeface="+mn-cs"/>
              </a:defRPr>
            </a:lvl5pPr>
            <a:lvl6pPr marL="1954115"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dk1"/>
                </a:solidFill>
                <a:latin typeface="+mn-lt"/>
                <a:ea typeface="+mn-ea"/>
                <a:cs typeface="+mn-cs"/>
              </a:defRPr>
            </a:lvl6pPr>
            <a:lvl7pPr marL="2411293"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dk1"/>
                </a:solidFill>
                <a:latin typeface="+mn-lt"/>
                <a:ea typeface="+mn-ea"/>
                <a:cs typeface="+mn-cs"/>
              </a:defRPr>
            </a:lvl7pPr>
            <a:lvl8pPr marL="2868471"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dk1"/>
                </a:solidFill>
                <a:latin typeface="+mn-lt"/>
                <a:ea typeface="+mn-ea"/>
                <a:cs typeface="+mn-cs"/>
              </a:defRPr>
            </a:lvl8pPr>
            <a:lvl9pPr marL="3325648"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dk1"/>
                </a:solidFill>
                <a:latin typeface="+mn-lt"/>
                <a:ea typeface="+mn-ea"/>
                <a:cs typeface="+mn-cs"/>
              </a:defRPr>
            </a:lvl9pPr>
          </a:lstStyle>
          <a:p>
            <a:pPr marL="0" indent="0">
              <a:spcAft>
                <a:spcPts val="0"/>
              </a:spcAft>
              <a:buClr>
                <a:schemeClr val="tx2"/>
              </a:buClr>
              <a:buSzPct val="100000"/>
              <a:buNone/>
            </a:pPr>
            <a:r>
              <a:rPr lang="en-US" sz="1400" kern="0" dirty="0">
                <a:solidFill>
                  <a:schemeClr val="tx1"/>
                </a:solidFill>
              </a:rPr>
              <a:t>Accelerating the hiring process through a curated repository of job description materials and competitive rewards</a:t>
            </a:r>
          </a:p>
        </p:txBody>
      </p:sp>
      <p:sp>
        <p:nvSpPr>
          <p:cNvPr id="46" name="Freeform 24">
            <a:extLst>
              <a:ext uri="{FF2B5EF4-FFF2-40B4-BE49-F238E27FC236}">
                <a16:creationId xmlns:a16="http://schemas.microsoft.com/office/drawing/2014/main" xmlns="" id="{3B85227D-9EDD-498C-A304-A9563756C1D8}"/>
              </a:ext>
            </a:extLst>
          </p:cNvPr>
          <p:cNvSpPr>
            <a:spLocks noChangeAspect="1"/>
          </p:cNvSpPr>
          <p:nvPr/>
        </p:nvSpPr>
        <p:spPr bwMode="gray">
          <a:xfrm>
            <a:off x="5488862" y="1343024"/>
            <a:ext cx="879386" cy="879386"/>
          </a:xfrm>
          <a:custGeom>
            <a:avLst/>
            <a:gdLst>
              <a:gd name="T0" fmla="*/ 1744 w 739"/>
              <a:gd name="T1" fmla="*/ 669 h 739"/>
              <a:gd name="T2" fmla="*/ 1734 w 739"/>
              <a:gd name="T3" fmla="*/ 637 h 739"/>
              <a:gd name="T4" fmla="*/ 1723 w 739"/>
              <a:gd name="T5" fmla="*/ 597 h 739"/>
              <a:gd name="T6" fmla="*/ 1702 w 739"/>
              <a:gd name="T7" fmla="*/ 541 h 739"/>
              <a:gd name="T8" fmla="*/ 1457 w 739"/>
              <a:gd name="T9" fmla="*/ 521 h 739"/>
              <a:gd name="T10" fmla="*/ 1547 w 739"/>
              <a:gd name="T11" fmla="*/ 292 h 739"/>
              <a:gd name="T12" fmla="*/ 1508 w 739"/>
              <a:gd name="T13" fmla="*/ 254 h 739"/>
              <a:gd name="T14" fmla="*/ 1478 w 739"/>
              <a:gd name="T15" fmla="*/ 224 h 739"/>
              <a:gd name="T16" fmla="*/ 1450 w 739"/>
              <a:gd name="T17" fmla="*/ 198 h 739"/>
              <a:gd name="T18" fmla="*/ 1221 w 739"/>
              <a:gd name="T19" fmla="*/ 291 h 739"/>
              <a:gd name="T20" fmla="*/ 1171 w 739"/>
              <a:gd name="T21" fmla="*/ 267 h 739"/>
              <a:gd name="T22" fmla="*/ 1127 w 739"/>
              <a:gd name="T23" fmla="*/ 28 h 739"/>
              <a:gd name="T24" fmla="*/ 1089 w 739"/>
              <a:gd name="T25" fmla="*/ 16 h 739"/>
              <a:gd name="T26" fmla="*/ 1048 w 739"/>
              <a:gd name="T27" fmla="*/ 7 h 739"/>
              <a:gd name="T28" fmla="*/ 903 w 739"/>
              <a:gd name="T29" fmla="*/ 198 h 739"/>
              <a:gd name="T30" fmla="*/ 873 w 739"/>
              <a:gd name="T31" fmla="*/ 198 h 739"/>
              <a:gd name="T32" fmla="*/ 845 w 739"/>
              <a:gd name="T33" fmla="*/ 198 h 739"/>
              <a:gd name="T34" fmla="*/ 712 w 739"/>
              <a:gd name="T35" fmla="*/ 7 h 739"/>
              <a:gd name="T36" fmla="*/ 653 w 739"/>
              <a:gd name="T37" fmla="*/ 20 h 739"/>
              <a:gd name="T38" fmla="*/ 617 w 739"/>
              <a:gd name="T39" fmla="*/ 31 h 739"/>
              <a:gd name="T40" fmla="*/ 584 w 739"/>
              <a:gd name="T41" fmla="*/ 43 h 739"/>
              <a:gd name="T42" fmla="*/ 546 w 739"/>
              <a:gd name="T43" fmla="*/ 283 h 739"/>
              <a:gd name="T44" fmla="*/ 490 w 739"/>
              <a:gd name="T45" fmla="*/ 314 h 739"/>
              <a:gd name="T46" fmla="*/ 256 w 739"/>
              <a:gd name="T47" fmla="*/ 246 h 739"/>
              <a:gd name="T48" fmla="*/ 206 w 739"/>
              <a:gd name="T49" fmla="*/ 299 h 739"/>
              <a:gd name="T50" fmla="*/ 288 w 739"/>
              <a:gd name="T51" fmla="*/ 526 h 739"/>
              <a:gd name="T52" fmla="*/ 254 w 739"/>
              <a:gd name="T53" fmla="*/ 589 h 739"/>
              <a:gd name="T54" fmla="*/ 21 w 739"/>
              <a:gd name="T55" fmla="*/ 645 h 739"/>
              <a:gd name="T56" fmla="*/ 5 w 739"/>
              <a:gd name="T57" fmla="*/ 717 h 739"/>
              <a:gd name="T58" fmla="*/ 184 w 739"/>
              <a:gd name="T59" fmla="*/ 868 h 739"/>
              <a:gd name="T60" fmla="*/ 186 w 739"/>
              <a:gd name="T61" fmla="*/ 950 h 739"/>
              <a:gd name="T62" fmla="*/ 20 w 739"/>
              <a:gd name="T63" fmla="*/ 1110 h 739"/>
              <a:gd name="T64" fmla="*/ 43 w 739"/>
              <a:gd name="T65" fmla="*/ 1179 h 739"/>
              <a:gd name="T66" fmla="*/ 270 w 739"/>
              <a:gd name="T67" fmla="*/ 1223 h 739"/>
              <a:gd name="T68" fmla="*/ 314 w 739"/>
              <a:gd name="T69" fmla="*/ 1292 h 739"/>
              <a:gd name="T70" fmla="*/ 254 w 739"/>
              <a:gd name="T71" fmla="*/ 1511 h 739"/>
              <a:gd name="T72" fmla="*/ 305 w 739"/>
              <a:gd name="T73" fmla="*/ 1557 h 739"/>
              <a:gd name="T74" fmla="*/ 514 w 739"/>
              <a:gd name="T75" fmla="*/ 1477 h 739"/>
              <a:gd name="T76" fmla="*/ 552 w 739"/>
              <a:gd name="T77" fmla="*/ 1497 h 739"/>
              <a:gd name="T78" fmla="*/ 586 w 739"/>
              <a:gd name="T79" fmla="*/ 1513 h 739"/>
              <a:gd name="T80" fmla="*/ 632 w 739"/>
              <a:gd name="T81" fmla="*/ 1732 h 739"/>
              <a:gd name="T82" fmla="*/ 668 w 739"/>
              <a:gd name="T83" fmla="*/ 1742 h 739"/>
              <a:gd name="T84" fmla="*/ 703 w 739"/>
              <a:gd name="T85" fmla="*/ 1748 h 739"/>
              <a:gd name="T86" fmla="*/ 759 w 739"/>
              <a:gd name="T87" fmla="*/ 1760 h 739"/>
              <a:gd name="T88" fmla="*/ 879 w 739"/>
              <a:gd name="T89" fmla="*/ 1575 h 739"/>
              <a:gd name="T90" fmla="*/ 916 w 739"/>
              <a:gd name="T91" fmla="*/ 1575 h 739"/>
              <a:gd name="T92" fmla="*/ 958 w 739"/>
              <a:gd name="T93" fmla="*/ 1572 h 739"/>
              <a:gd name="T94" fmla="*/ 1102 w 739"/>
              <a:gd name="T95" fmla="*/ 1738 h 739"/>
              <a:gd name="T96" fmla="*/ 1134 w 739"/>
              <a:gd name="T97" fmla="*/ 1731 h 739"/>
              <a:gd name="T98" fmla="*/ 1171 w 739"/>
              <a:gd name="T99" fmla="*/ 1718 h 739"/>
              <a:gd name="T100" fmla="*/ 1207 w 739"/>
              <a:gd name="T101" fmla="*/ 1492 h 739"/>
              <a:gd name="T102" fmla="*/ 1239 w 739"/>
              <a:gd name="T103" fmla="*/ 1472 h 739"/>
              <a:gd name="T104" fmla="*/ 1270 w 739"/>
              <a:gd name="T105" fmla="*/ 1450 h 739"/>
              <a:gd name="T106" fmla="*/ 1472 w 739"/>
              <a:gd name="T107" fmla="*/ 1543 h 739"/>
              <a:gd name="T108" fmla="*/ 1532 w 739"/>
              <a:gd name="T109" fmla="*/ 1484 h 739"/>
              <a:gd name="T110" fmla="*/ 1584 w 739"/>
              <a:gd name="T111" fmla="*/ 1421 h 739"/>
              <a:gd name="T112" fmla="*/ 1489 w 739"/>
              <a:gd name="T113" fmla="*/ 1201 h 739"/>
              <a:gd name="T114" fmla="*/ 1723 w 739"/>
              <a:gd name="T115" fmla="*/ 1158 h 739"/>
              <a:gd name="T116" fmla="*/ 1747 w 739"/>
              <a:gd name="T117" fmla="*/ 1078 h 739"/>
              <a:gd name="T118" fmla="*/ 1760 w 739"/>
              <a:gd name="T119" fmla="*/ 995 h 739"/>
              <a:gd name="T120" fmla="*/ 1561 w 739"/>
              <a:gd name="T121" fmla="*/ 852 h 73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39"/>
              <a:gd name="T184" fmla="*/ 0 h 739"/>
              <a:gd name="T185" fmla="*/ 739 w 739"/>
              <a:gd name="T186" fmla="*/ 739 h 73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39" h="739">
                <a:moveTo>
                  <a:pt x="654" y="343"/>
                </a:moveTo>
                <a:lnTo>
                  <a:pt x="735" y="295"/>
                </a:lnTo>
                <a:lnTo>
                  <a:pt x="732" y="281"/>
                </a:lnTo>
                <a:lnTo>
                  <a:pt x="731" y="276"/>
                </a:lnTo>
                <a:lnTo>
                  <a:pt x="730" y="272"/>
                </a:lnTo>
                <a:lnTo>
                  <a:pt x="728" y="267"/>
                </a:lnTo>
                <a:lnTo>
                  <a:pt x="727" y="263"/>
                </a:lnTo>
                <a:lnTo>
                  <a:pt x="724" y="257"/>
                </a:lnTo>
                <a:lnTo>
                  <a:pt x="723" y="251"/>
                </a:lnTo>
                <a:lnTo>
                  <a:pt x="721" y="246"/>
                </a:lnTo>
                <a:lnTo>
                  <a:pt x="719" y="240"/>
                </a:lnTo>
                <a:lnTo>
                  <a:pt x="714" y="227"/>
                </a:lnTo>
                <a:lnTo>
                  <a:pt x="619" y="231"/>
                </a:lnTo>
                <a:lnTo>
                  <a:pt x="615" y="225"/>
                </a:lnTo>
                <a:lnTo>
                  <a:pt x="612" y="219"/>
                </a:lnTo>
                <a:lnTo>
                  <a:pt x="608" y="213"/>
                </a:lnTo>
                <a:lnTo>
                  <a:pt x="604" y="206"/>
                </a:lnTo>
                <a:lnTo>
                  <a:pt x="649" y="123"/>
                </a:lnTo>
                <a:lnTo>
                  <a:pt x="640" y="114"/>
                </a:lnTo>
                <a:lnTo>
                  <a:pt x="637" y="109"/>
                </a:lnTo>
                <a:lnTo>
                  <a:pt x="633" y="106"/>
                </a:lnTo>
                <a:lnTo>
                  <a:pt x="629" y="102"/>
                </a:lnTo>
                <a:lnTo>
                  <a:pt x="625" y="98"/>
                </a:lnTo>
                <a:lnTo>
                  <a:pt x="621" y="94"/>
                </a:lnTo>
                <a:lnTo>
                  <a:pt x="617" y="91"/>
                </a:lnTo>
                <a:lnTo>
                  <a:pt x="613" y="87"/>
                </a:lnTo>
                <a:lnTo>
                  <a:pt x="609" y="83"/>
                </a:lnTo>
                <a:lnTo>
                  <a:pt x="598" y="75"/>
                </a:lnTo>
                <a:lnTo>
                  <a:pt x="518" y="126"/>
                </a:lnTo>
                <a:lnTo>
                  <a:pt x="512" y="122"/>
                </a:lnTo>
                <a:lnTo>
                  <a:pt x="506" y="119"/>
                </a:lnTo>
                <a:lnTo>
                  <a:pt x="499" y="115"/>
                </a:lnTo>
                <a:lnTo>
                  <a:pt x="492" y="112"/>
                </a:lnTo>
                <a:lnTo>
                  <a:pt x="490" y="17"/>
                </a:lnTo>
                <a:lnTo>
                  <a:pt x="478" y="13"/>
                </a:lnTo>
                <a:lnTo>
                  <a:pt x="473" y="12"/>
                </a:lnTo>
                <a:lnTo>
                  <a:pt x="467" y="9"/>
                </a:lnTo>
                <a:lnTo>
                  <a:pt x="462" y="8"/>
                </a:lnTo>
                <a:lnTo>
                  <a:pt x="457" y="7"/>
                </a:lnTo>
                <a:lnTo>
                  <a:pt x="452" y="5"/>
                </a:lnTo>
                <a:lnTo>
                  <a:pt x="445" y="4"/>
                </a:lnTo>
                <a:lnTo>
                  <a:pt x="440" y="3"/>
                </a:lnTo>
                <a:lnTo>
                  <a:pt x="435" y="2"/>
                </a:lnTo>
                <a:lnTo>
                  <a:pt x="422" y="0"/>
                </a:lnTo>
                <a:lnTo>
                  <a:pt x="379" y="83"/>
                </a:lnTo>
                <a:lnTo>
                  <a:pt x="375" y="83"/>
                </a:lnTo>
                <a:lnTo>
                  <a:pt x="371" y="83"/>
                </a:lnTo>
                <a:lnTo>
                  <a:pt x="367" y="83"/>
                </a:lnTo>
                <a:lnTo>
                  <a:pt x="363" y="83"/>
                </a:lnTo>
                <a:lnTo>
                  <a:pt x="359" y="83"/>
                </a:lnTo>
                <a:lnTo>
                  <a:pt x="355" y="83"/>
                </a:lnTo>
                <a:lnTo>
                  <a:pt x="351" y="84"/>
                </a:lnTo>
                <a:lnTo>
                  <a:pt x="347" y="84"/>
                </a:lnTo>
                <a:lnTo>
                  <a:pt x="299" y="3"/>
                </a:lnTo>
                <a:lnTo>
                  <a:pt x="285" y="6"/>
                </a:lnTo>
                <a:lnTo>
                  <a:pt x="280" y="7"/>
                </a:lnTo>
                <a:lnTo>
                  <a:pt x="274" y="8"/>
                </a:lnTo>
                <a:lnTo>
                  <a:pt x="269" y="9"/>
                </a:lnTo>
                <a:lnTo>
                  <a:pt x="264" y="12"/>
                </a:lnTo>
                <a:lnTo>
                  <a:pt x="259" y="13"/>
                </a:lnTo>
                <a:lnTo>
                  <a:pt x="254" y="15"/>
                </a:lnTo>
                <a:lnTo>
                  <a:pt x="250" y="16"/>
                </a:lnTo>
                <a:lnTo>
                  <a:pt x="245" y="18"/>
                </a:lnTo>
                <a:lnTo>
                  <a:pt x="232" y="22"/>
                </a:lnTo>
                <a:lnTo>
                  <a:pt x="236" y="115"/>
                </a:lnTo>
                <a:lnTo>
                  <a:pt x="229" y="119"/>
                </a:lnTo>
                <a:lnTo>
                  <a:pt x="221" y="123"/>
                </a:lnTo>
                <a:lnTo>
                  <a:pt x="213" y="128"/>
                </a:lnTo>
                <a:lnTo>
                  <a:pt x="206" y="132"/>
                </a:lnTo>
                <a:lnTo>
                  <a:pt x="125" y="88"/>
                </a:lnTo>
                <a:lnTo>
                  <a:pt x="116" y="96"/>
                </a:lnTo>
                <a:lnTo>
                  <a:pt x="108" y="103"/>
                </a:lnTo>
                <a:lnTo>
                  <a:pt x="100" y="110"/>
                </a:lnTo>
                <a:lnTo>
                  <a:pt x="93" y="119"/>
                </a:lnTo>
                <a:lnTo>
                  <a:pt x="86" y="126"/>
                </a:lnTo>
                <a:lnTo>
                  <a:pt x="77" y="137"/>
                </a:lnTo>
                <a:lnTo>
                  <a:pt x="126" y="213"/>
                </a:lnTo>
                <a:lnTo>
                  <a:pt x="121" y="221"/>
                </a:lnTo>
                <a:lnTo>
                  <a:pt x="116" y="229"/>
                </a:lnTo>
                <a:lnTo>
                  <a:pt x="110" y="239"/>
                </a:lnTo>
                <a:lnTo>
                  <a:pt x="106" y="247"/>
                </a:lnTo>
                <a:lnTo>
                  <a:pt x="17" y="248"/>
                </a:lnTo>
                <a:lnTo>
                  <a:pt x="12" y="260"/>
                </a:lnTo>
                <a:lnTo>
                  <a:pt x="9" y="271"/>
                </a:lnTo>
                <a:lnTo>
                  <a:pt x="7" y="280"/>
                </a:lnTo>
                <a:lnTo>
                  <a:pt x="4" y="291"/>
                </a:lnTo>
                <a:lnTo>
                  <a:pt x="2" y="301"/>
                </a:lnTo>
                <a:lnTo>
                  <a:pt x="0" y="315"/>
                </a:lnTo>
                <a:lnTo>
                  <a:pt x="78" y="354"/>
                </a:lnTo>
                <a:lnTo>
                  <a:pt x="77" y="365"/>
                </a:lnTo>
                <a:lnTo>
                  <a:pt x="77" y="376"/>
                </a:lnTo>
                <a:lnTo>
                  <a:pt x="77" y="386"/>
                </a:lnTo>
                <a:lnTo>
                  <a:pt x="78" y="398"/>
                </a:lnTo>
                <a:lnTo>
                  <a:pt x="3" y="443"/>
                </a:lnTo>
                <a:lnTo>
                  <a:pt x="6" y="455"/>
                </a:lnTo>
                <a:lnTo>
                  <a:pt x="8" y="466"/>
                </a:lnTo>
                <a:lnTo>
                  <a:pt x="11" y="476"/>
                </a:lnTo>
                <a:lnTo>
                  <a:pt x="15" y="485"/>
                </a:lnTo>
                <a:lnTo>
                  <a:pt x="18" y="495"/>
                </a:lnTo>
                <a:lnTo>
                  <a:pt x="22" y="507"/>
                </a:lnTo>
                <a:lnTo>
                  <a:pt x="108" y="503"/>
                </a:lnTo>
                <a:lnTo>
                  <a:pt x="113" y="514"/>
                </a:lnTo>
                <a:lnTo>
                  <a:pt x="120" y="523"/>
                </a:lnTo>
                <a:lnTo>
                  <a:pt x="126" y="532"/>
                </a:lnTo>
                <a:lnTo>
                  <a:pt x="132" y="542"/>
                </a:lnTo>
                <a:lnTo>
                  <a:pt x="89" y="618"/>
                </a:lnTo>
                <a:lnTo>
                  <a:pt x="99" y="627"/>
                </a:lnTo>
                <a:lnTo>
                  <a:pt x="106" y="634"/>
                </a:lnTo>
                <a:lnTo>
                  <a:pt x="113" y="641"/>
                </a:lnTo>
                <a:lnTo>
                  <a:pt x="121" y="648"/>
                </a:lnTo>
                <a:lnTo>
                  <a:pt x="128" y="654"/>
                </a:lnTo>
                <a:lnTo>
                  <a:pt x="138" y="664"/>
                </a:lnTo>
                <a:lnTo>
                  <a:pt x="211" y="617"/>
                </a:lnTo>
                <a:lnTo>
                  <a:pt x="216" y="620"/>
                </a:lnTo>
                <a:lnTo>
                  <a:pt x="221" y="623"/>
                </a:lnTo>
                <a:lnTo>
                  <a:pt x="226" y="626"/>
                </a:lnTo>
                <a:lnTo>
                  <a:pt x="231" y="628"/>
                </a:lnTo>
                <a:lnTo>
                  <a:pt x="235" y="631"/>
                </a:lnTo>
                <a:lnTo>
                  <a:pt x="240" y="633"/>
                </a:lnTo>
                <a:lnTo>
                  <a:pt x="246" y="635"/>
                </a:lnTo>
                <a:lnTo>
                  <a:pt x="251" y="638"/>
                </a:lnTo>
                <a:lnTo>
                  <a:pt x="252" y="723"/>
                </a:lnTo>
                <a:lnTo>
                  <a:pt x="265" y="727"/>
                </a:lnTo>
                <a:lnTo>
                  <a:pt x="271" y="728"/>
                </a:lnTo>
                <a:lnTo>
                  <a:pt x="275" y="730"/>
                </a:lnTo>
                <a:lnTo>
                  <a:pt x="280" y="731"/>
                </a:lnTo>
                <a:lnTo>
                  <a:pt x="285" y="732"/>
                </a:lnTo>
                <a:lnTo>
                  <a:pt x="289" y="733"/>
                </a:lnTo>
                <a:lnTo>
                  <a:pt x="295" y="734"/>
                </a:lnTo>
                <a:lnTo>
                  <a:pt x="300" y="735"/>
                </a:lnTo>
                <a:lnTo>
                  <a:pt x="305" y="736"/>
                </a:lnTo>
                <a:lnTo>
                  <a:pt x="318" y="739"/>
                </a:lnTo>
                <a:lnTo>
                  <a:pt x="358" y="661"/>
                </a:lnTo>
                <a:lnTo>
                  <a:pt x="363" y="661"/>
                </a:lnTo>
                <a:lnTo>
                  <a:pt x="369" y="661"/>
                </a:lnTo>
                <a:lnTo>
                  <a:pt x="375" y="661"/>
                </a:lnTo>
                <a:lnTo>
                  <a:pt x="380" y="661"/>
                </a:lnTo>
                <a:lnTo>
                  <a:pt x="385" y="661"/>
                </a:lnTo>
                <a:lnTo>
                  <a:pt x="391" y="661"/>
                </a:lnTo>
                <a:lnTo>
                  <a:pt x="397" y="660"/>
                </a:lnTo>
                <a:lnTo>
                  <a:pt x="402" y="660"/>
                </a:lnTo>
                <a:lnTo>
                  <a:pt x="447" y="734"/>
                </a:lnTo>
                <a:lnTo>
                  <a:pt x="459" y="730"/>
                </a:lnTo>
                <a:lnTo>
                  <a:pt x="463" y="729"/>
                </a:lnTo>
                <a:lnTo>
                  <a:pt x="468" y="728"/>
                </a:lnTo>
                <a:lnTo>
                  <a:pt x="473" y="727"/>
                </a:lnTo>
                <a:lnTo>
                  <a:pt x="476" y="726"/>
                </a:lnTo>
                <a:lnTo>
                  <a:pt x="481" y="724"/>
                </a:lnTo>
                <a:lnTo>
                  <a:pt x="487" y="723"/>
                </a:lnTo>
                <a:lnTo>
                  <a:pt x="492" y="721"/>
                </a:lnTo>
                <a:lnTo>
                  <a:pt x="499" y="719"/>
                </a:lnTo>
                <a:lnTo>
                  <a:pt x="511" y="714"/>
                </a:lnTo>
                <a:lnTo>
                  <a:pt x="507" y="626"/>
                </a:lnTo>
                <a:lnTo>
                  <a:pt x="511" y="623"/>
                </a:lnTo>
                <a:lnTo>
                  <a:pt x="516" y="621"/>
                </a:lnTo>
                <a:lnTo>
                  <a:pt x="520" y="618"/>
                </a:lnTo>
                <a:lnTo>
                  <a:pt x="525" y="615"/>
                </a:lnTo>
                <a:lnTo>
                  <a:pt x="529" y="613"/>
                </a:lnTo>
                <a:lnTo>
                  <a:pt x="533" y="609"/>
                </a:lnTo>
                <a:lnTo>
                  <a:pt x="537" y="607"/>
                </a:lnTo>
                <a:lnTo>
                  <a:pt x="541" y="604"/>
                </a:lnTo>
                <a:lnTo>
                  <a:pt x="618" y="648"/>
                </a:lnTo>
                <a:lnTo>
                  <a:pt x="629" y="638"/>
                </a:lnTo>
                <a:lnTo>
                  <a:pt x="636" y="630"/>
                </a:lnTo>
                <a:lnTo>
                  <a:pt x="643" y="623"/>
                </a:lnTo>
                <a:lnTo>
                  <a:pt x="651" y="615"/>
                </a:lnTo>
                <a:lnTo>
                  <a:pt x="657" y="607"/>
                </a:lnTo>
                <a:lnTo>
                  <a:pt x="665" y="597"/>
                </a:lnTo>
                <a:lnTo>
                  <a:pt x="616" y="520"/>
                </a:lnTo>
                <a:lnTo>
                  <a:pt x="620" y="511"/>
                </a:lnTo>
                <a:lnTo>
                  <a:pt x="625" y="504"/>
                </a:lnTo>
                <a:lnTo>
                  <a:pt x="628" y="496"/>
                </a:lnTo>
                <a:lnTo>
                  <a:pt x="632" y="488"/>
                </a:lnTo>
                <a:lnTo>
                  <a:pt x="723" y="486"/>
                </a:lnTo>
                <a:lnTo>
                  <a:pt x="728" y="473"/>
                </a:lnTo>
                <a:lnTo>
                  <a:pt x="731" y="463"/>
                </a:lnTo>
                <a:lnTo>
                  <a:pt x="733" y="452"/>
                </a:lnTo>
                <a:lnTo>
                  <a:pt x="735" y="442"/>
                </a:lnTo>
                <a:lnTo>
                  <a:pt x="737" y="431"/>
                </a:lnTo>
                <a:lnTo>
                  <a:pt x="739" y="418"/>
                </a:lnTo>
                <a:lnTo>
                  <a:pt x="656" y="375"/>
                </a:lnTo>
                <a:lnTo>
                  <a:pt x="656" y="367"/>
                </a:lnTo>
                <a:lnTo>
                  <a:pt x="655" y="358"/>
                </a:lnTo>
                <a:lnTo>
                  <a:pt x="655" y="351"/>
                </a:lnTo>
                <a:lnTo>
                  <a:pt x="654" y="343"/>
                </a:lnTo>
                <a:close/>
              </a:path>
            </a:pathLst>
          </a:custGeom>
          <a:solidFill>
            <a:srgbClr val="D3D3D3"/>
          </a:solidFill>
          <a:ln w="9525">
            <a:noFill/>
            <a:round/>
            <a:headEnd/>
            <a:tailEnd/>
          </a:ln>
        </p:spPr>
        <p:txBody>
          <a:bodyPr/>
          <a:lstStyle/>
          <a:p>
            <a:endParaRPr lang="en-US" dirty="0">
              <a:latin typeface="+mj-lt"/>
            </a:endParaRPr>
          </a:p>
        </p:txBody>
      </p:sp>
      <p:sp>
        <p:nvSpPr>
          <p:cNvPr id="47" name="Oval 25">
            <a:extLst>
              <a:ext uri="{FF2B5EF4-FFF2-40B4-BE49-F238E27FC236}">
                <a16:creationId xmlns:a16="http://schemas.microsoft.com/office/drawing/2014/main" xmlns="" id="{097DEF13-FE4A-47AB-B373-B73D5AF0B7C5}"/>
              </a:ext>
            </a:extLst>
          </p:cNvPr>
          <p:cNvSpPr>
            <a:spLocks noChangeAspect="1" noChangeArrowheads="1"/>
          </p:cNvSpPr>
          <p:nvPr/>
        </p:nvSpPr>
        <p:spPr bwMode="gray">
          <a:xfrm>
            <a:off x="5653691" y="1507853"/>
            <a:ext cx="550619" cy="550619"/>
          </a:xfrm>
          <a:prstGeom prst="ellipse">
            <a:avLst/>
          </a:prstGeom>
          <a:solidFill>
            <a:schemeClr val="bg1"/>
          </a:solidFill>
          <a:ln w="9525" algn="ctr">
            <a:solidFill>
              <a:srgbClr val="D3D3D3"/>
            </a:solidFill>
            <a:round/>
            <a:headEnd/>
            <a:tailEnd/>
          </a:ln>
        </p:spPr>
        <p:txBody>
          <a:bodyPr wrap="none" lIns="0" tIns="0" rIns="0" bIns="0" anchor="ctr"/>
          <a:lstStyle/>
          <a:p>
            <a:pPr algn="ctr" defTabSz="1042988">
              <a:buSzPct val="90000"/>
            </a:pPr>
            <a:endParaRPr lang="en-US" sz="1000" dirty="0">
              <a:latin typeface="+mj-lt"/>
              <a:cs typeface="Arial" charset="0"/>
            </a:endParaRPr>
          </a:p>
        </p:txBody>
      </p:sp>
      <p:grpSp>
        <p:nvGrpSpPr>
          <p:cNvPr id="42" name="Group 47">
            <a:extLst>
              <a:ext uri="{FF2B5EF4-FFF2-40B4-BE49-F238E27FC236}">
                <a16:creationId xmlns:a16="http://schemas.microsoft.com/office/drawing/2014/main" xmlns="" id="{BB624BF9-8223-464C-B68E-2F5D836B68EC}"/>
              </a:ext>
            </a:extLst>
          </p:cNvPr>
          <p:cNvGrpSpPr>
            <a:grpSpLocks noChangeAspect="1"/>
          </p:cNvGrpSpPr>
          <p:nvPr/>
        </p:nvGrpSpPr>
        <p:grpSpPr bwMode="gray">
          <a:xfrm>
            <a:off x="5888117" y="2295848"/>
            <a:ext cx="863439" cy="863439"/>
            <a:chOff x="2341" y="1925"/>
            <a:chExt cx="987" cy="987"/>
          </a:xfrm>
        </p:grpSpPr>
        <p:sp>
          <p:nvSpPr>
            <p:cNvPr id="44" name="Freeform 48">
              <a:extLst>
                <a:ext uri="{FF2B5EF4-FFF2-40B4-BE49-F238E27FC236}">
                  <a16:creationId xmlns:a16="http://schemas.microsoft.com/office/drawing/2014/main" xmlns="" id="{D89A5C7D-8DA4-4B17-B214-6EE8D579E029}"/>
                </a:ext>
              </a:extLst>
            </p:cNvPr>
            <p:cNvSpPr>
              <a:spLocks noChangeAspect="1"/>
            </p:cNvSpPr>
            <p:nvPr/>
          </p:nvSpPr>
          <p:spPr bwMode="gray">
            <a:xfrm>
              <a:off x="2341" y="1925"/>
              <a:ext cx="987" cy="987"/>
            </a:xfrm>
            <a:custGeom>
              <a:avLst/>
              <a:gdLst>
                <a:gd name="T0" fmla="*/ 1744 w 739"/>
                <a:gd name="T1" fmla="*/ 669 h 739"/>
                <a:gd name="T2" fmla="*/ 1734 w 739"/>
                <a:gd name="T3" fmla="*/ 637 h 739"/>
                <a:gd name="T4" fmla="*/ 1723 w 739"/>
                <a:gd name="T5" fmla="*/ 597 h 739"/>
                <a:gd name="T6" fmla="*/ 1702 w 739"/>
                <a:gd name="T7" fmla="*/ 541 h 739"/>
                <a:gd name="T8" fmla="*/ 1457 w 739"/>
                <a:gd name="T9" fmla="*/ 521 h 739"/>
                <a:gd name="T10" fmla="*/ 1547 w 739"/>
                <a:gd name="T11" fmla="*/ 292 h 739"/>
                <a:gd name="T12" fmla="*/ 1508 w 739"/>
                <a:gd name="T13" fmla="*/ 254 h 739"/>
                <a:gd name="T14" fmla="*/ 1478 w 739"/>
                <a:gd name="T15" fmla="*/ 224 h 739"/>
                <a:gd name="T16" fmla="*/ 1450 w 739"/>
                <a:gd name="T17" fmla="*/ 198 h 739"/>
                <a:gd name="T18" fmla="*/ 1221 w 739"/>
                <a:gd name="T19" fmla="*/ 291 h 739"/>
                <a:gd name="T20" fmla="*/ 1171 w 739"/>
                <a:gd name="T21" fmla="*/ 267 h 739"/>
                <a:gd name="T22" fmla="*/ 1127 w 739"/>
                <a:gd name="T23" fmla="*/ 28 h 739"/>
                <a:gd name="T24" fmla="*/ 1089 w 739"/>
                <a:gd name="T25" fmla="*/ 16 h 739"/>
                <a:gd name="T26" fmla="*/ 1048 w 739"/>
                <a:gd name="T27" fmla="*/ 7 h 739"/>
                <a:gd name="T28" fmla="*/ 903 w 739"/>
                <a:gd name="T29" fmla="*/ 198 h 739"/>
                <a:gd name="T30" fmla="*/ 873 w 739"/>
                <a:gd name="T31" fmla="*/ 198 h 739"/>
                <a:gd name="T32" fmla="*/ 845 w 739"/>
                <a:gd name="T33" fmla="*/ 198 h 739"/>
                <a:gd name="T34" fmla="*/ 712 w 739"/>
                <a:gd name="T35" fmla="*/ 7 h 739"/>
                <a:gd name="T36" fmla="*/ 653 w 739"/>
                <a:gd name="T37" fmla="*/ 20 h 739"/>
                <a:gd name="T38" fmla="*/ 617 w 739"/>
                <a:gd name="T39" fmla="*/ 31 h 739"/>
                <a:gd name="T40" fmla="*/ 584 w 739"/>
                <a:gd name="T41" fmla="*/ 43 h 739"/>
                <a:gd name="T42" fmla="*/ 546 w 739"/>
                <a:gd name="T43" fmla="*/ 283 h 739"/>
                <a:gd name="T44" fmla="*/ 490 w 739"/>
                <a:gd name="T45" fmla="*/ 314 h 739"/>
                <a:gd name="T46" fmla="*/ 256 w 739"/>
                <a:gd name="T47" fmla="*/ 246 h 739"/>
                <a:gd name="T48" fmla="*/ 206 w 739"/>
                <a:gd name="T49" fmla="*/ 299 h 739"/>
                <a:gd name="T50" fmla="*/ 288 w 739"/>
                <a:gd name="T51" fmla="*/ 526 h 739"/>
                <a:gd name="T52" fmla="*/ 254 w 739"/>
                <a:gd name="T53" fmla="*/ 589 h 739"/>
                <a:gd name="T54" fmla="*/ 21 w 739"/>
                <a:gd name="T55" fmla="*/ 645 h 739"/>
                <a:gd name="T56" fmla="*/ 5 w 739"/>
                <a:gd name="T57" fmla="*/ 717 h 739"/>
                <a:gd name="T58" fmla="*/ 184 w 739"/>
                <a:gd name="T59" fmla="*/ 868 h 739"/>
                <a:gd name="T60" fmla="*/ 186 w 739"/>
                <a:gd name="T61" fmla="*/ 950 h 739"/>
                <a:gd name="T62" fmla="*/ 20 w 739"/>
                <a:gd name="T63" fmla="*/ 1110 h 739"/>
                <a:gd name="T64" fmla="*/ 43 w 739"/>
                <a:gd name="T65" fmla="*/ 1179 h 739"/>
                <a:gd name="T66" fmla="*/ 270 w 739"/>
                <a:gd name="T67" fmla="*/ 1223 h 739"/>
                <a:gd name="T68" fmla="*/ 314 w 739"/>
                <a:gd name="T69" fmla="*/ 1292 h 739"/>
                <a:gd name="T70" fmla="*/ 254 w 739"/>
                <a:gd name="T71" fmla="*/ 1511 h 739"/>
                <a:gd name="T72" fmla="*/ 305 w 739"/>
                <a:gd name="T73" fmla="*/ 1557 h 739"/>
                <a:gd name="T74" fmla="*/ 514 w 739"/>
                <a:gd name="T75" fmla="*/ 1477 h 739"/>
                <a:gd name="T76" fmla="*/ 552 w 739"/>
                <a:gd name="T77" fmla="*/ 1497 h 739"/>
                <a:gd name="T78" fmla="*/ 586 w 739"/>
                <a:gd name="T79" fmla="*/ 1513 h 739"/>
                <a:gd name="T80" fmla="*/ 632 w 739"/>
                <a:gd name="T81" fmla="*/ 1732 h 739"/>
                <a:gd name="T82" fmla="*/ 668 w 739"/>
                <a:gd name="T83" fmla="*/ 1742 h 739"/>
                <a:gd name="T84" fmla="*/ 703 w 739"/>
                <a:gd name="T85" fmla="*/ 1748 h 739"/>
                <a:gd name="T86" fmla="*/ 759 w 739"/>
                <a:gd name="T87" fmla="*/ 1760 h 739"/>
                <a:gd name="T88" fmla="*/ 879 w 739"/>
                <a:gd name="T89" fmla="*/ 1575 h 739"/>
                <a:gd name="T90" fmla="*/ 916 w 739"/>
                <a:gd name="T91" fmla="*/ 1575 h 739"/>
                <a:gd name="T92" fmla="*/ 958 w 739"/>
                <a:gd name="T93" fmla="*/ 1572 h 739"/>
                <a:gd name="T94" fmla="*/ 1102 w 739"/>
                <a:gd name="T95" fmla="*/ 1738 h 739"/>
                <a:gd name="T96" fmla="*/ 1134 w 739"/>
                <a:gd name="T97" fmla="*/ 1731 h 739"/>
                <a:gd name="T98" fmla="*/ 1171 w 739"/>
                <a:gd name="T99" fmla="*/ 1718 h 739"/>
                <a:gd name="T100" fmla="*/ 1207 w 739"/>
                <a:gd name="T101" fmla="*/ 1492 h 739"/>
                <a:gd name="T102" fmla="*/ 1239 w 739"/>
                <a:gd name="T103" fmla="*/ 1472 h 739"/>
                <a:gd name="T104" fmla="*/ 1270 w 739"/>
                <a:gd name="T105" fmla="*/ 1450 h 739"/>
                <a:gd name="T106" fmla="*/ 1472 w 739"/>
                <a:gd name="T107" fmla="*/ 1543 h 739"/>
                <a:gd name="T108" fmla="*/ 1532 w 739"/>
                <a:gd name="T109" fmla="*/ 1484 h 739"/>
                <a:gd name="T110" fmla="*/ 1584 w 739"/>
                <a:gd name="T111" fmla="*/ 1421 h 739"/>
                <a:gd name="T112" fmla="*/ 1489 w 739"/>
                <a:gd name="T113" fmla="*/ 1201 h 739"/>
                <a:gd name="T114" fmla="*/ 1723 w 739"/>
                <a:gd name="T115" fmla="*/ 1158 h 739"/>
                <a:gd name="T116" fmla="*/ 1747 w 739"/>
                <a:gd name="T117" fmla="*/ 1078 h 739"/>
                <a:gd name="T118" fmla="*/ 1760 w 739"/>
                <a:gd name="T119" fmla="*/ 995 h 739"/>
                <a:gd name="T120" fmla="*/ 1561 w 739"/>
                <a:gd name="T121" fmla="*/ 852 h 73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39"/>
                <a:gd name="T184" fmla="*/ 0 h 739"/>
                <a:gd name="T185" fmla="*/ 739 w 739"/>
                <a:gd name="T186" fmla="*/ 739 h 73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39" h="739">
                  <a:moveTo>
                    <a:pt x="654" y="343"/>
                  </a:moveTo>
                  <a:lnTo>
                    <a:pt x="735" y="295"/>
                  </a:lnTo>
                  <a:lnTo>
                    <a:pt x="732" y="281"/>
                  </a:lnTo>
                  <a:lnTo>
                    <a:pt x="731" y="276"/>
                  </a:lnTo>
                  <a:lnTo>
                    <a:pt x="730" y="272"/>
                  </a:lnTo>
                  <a:lnTo>
                    <a:pt x="728" y="267"/>
                  </a:lnTo>
                  <a:lnTo>
                    <a:pt x="727" y="263"/>
                  </a:lnTo>
                  <a:lnTo>
                    <a:pt x="724" y="257"/>
                  </a:lnTo>
                  <a:lnTo>
                    <a:pt x="723" y="251"/>
                  </a:lnTo>
                  <a:lnTo>
                    <a:pt x="721" y="246"/>
                  </a:lnTo>
                  <a:lnTo>
                    <a:pt x="719" y="240"/>
                  </a:lnTo>
                  <a:lnTo>
                    <a:pt x="714" y="227"/>
                  </a:lnTo>
                  <a:lnTo>
                    <a:pt x="619" y="231"/>
                  </a:lnTo>
                  <a:lnTo>
                    <a:pt x="615" y="225"/>
                  </a:lnTo>
                  <a:lnTo>
                    <a:pt x="612" y="219"/>
                  </a:lnTo>
                  <a:lnTo>
                    <a:pt x="608" y="213"/>
                  </a:lnTo>
                  <a:lnTo>
                    <a:pt x="604" y="206"/>
                  </a:lnTo>
                  <a:lnTo>
                    <a:pt x="649" y="123"/>
                  </a:lnTo>
                  <a:lnTo>
                    <a:pt x="640" y="114"/>
                  </a:lnTo>
                  <a:lnTo>
                    <a:pt x="637" y="109"/>
                  </a:lnTo>
                  <a:lnTo>
                    <a:pt x="633" y="106"/>
                  </a:lnTo>
                  <a:lnTo>
                    <a:pt x="629" y="102"/>
                  </a:lnTo>
                  <a:lnTo>
                    <a:pt x="625" y="98"/>
                  </a:lnTo>
                  <a:lnTo>
                    <a:pt x="621" y="94"/>
                  </a:lnTo>
                  <a:lnTo>
                    <a:pt x="617" y="91"/>
                  </a:lnTo>
                  <a:lnTo>
                    <a:pt x="613" y="87"/>
                  </a:lnTo>
                  <a:lnTo>
                    <a:pt x="609" y="83"/>
                  </a:lnTo>
                  <a:lnTo>
                    <a:pt x="598" y="75"/>
                  </a:lnTo>
                  <a:lnTo>
                    <a:pt x="518" y="126"/>
                  </a:lnTo>
                  <a:lnTo>
                    <a:pt x="512" y="122"/>
                  </a:lnTo>
                  <a:lnTo>
                    <a:pt x="506" y="119"/>
                  </a:lnTo>
                  <a:lnTo>
                    <a:pt x="499" y="115"/>
                  </a:lnTo>
                  <a:lnTo>
                    <a:pt x="492" y="112"/>
                  </a:lnTo>
                  <a:lnTo>
                    <a:pt x="490" y="17"/>
                  </a:lnTo>
                  <a:lnTo>
                    <a:pt x="478" y="13"/>
                  </a:lnTo>
                  <a:lnTo>
                    <a:pt x="473" y="12"/>
                  </a:lnTo>
                  <a:lnTo>
                    <a:pt x="467" y="9"/>
                  </a:lnTo>
                  <a:lnTo>
                    <a:pt x="462" y="8"/>
                  </a:lnTo>
                  <a:lnTo>
                    <a:pt x="457" y="7"/>
                  </a:lnTo>
                  <a:lnTo>
                    <a:pt x="452" y="5"/>
                  </a:lnTo>
                  <a:lnTo>
                    <a:pt x="445" y="4"/>
                  </a:lnTo>
                  <a:lnTo>
                    <a:pt x="440" y="3"/>
                  </a:lnTo>
                  <a:lnTo>
                    <a:pt x="435" y="2"/>
                  </a:lnTo>
                  <a:lnTo>
                    <a:pt x="422" y="0"/>
                  </a:lnTo>
                  <a:lnTo>
                    <a:pt x="379" y="83"/>
                  </a:lnTo>
                  <a:lnTo>
                    <a:pt x="375" y="83"/>
                  </a:lnTo>
                  <a:lnTo>
                    <a:pt x="371" y="83"/>
                  </a:lnTo>
                  <a:lnTo>
                    <a:pt x="367" y="83"/>
                  </a:lnTo>
                  <a:lnTo>
                    <a:pt x="363" y="83"/>
                  </a:lnTo>
                  <a:lnTo>
                    <a:pt x="359" y="83"/>
                  </a:lnTo>
                  <a:lnTo>
                    <a:pt x="355" y="83"/>
                  </a:lnTo>
                  <a:lnTo>
                    <a:pt x="351" y="84"/>
                  </a:lnTo>
                  <a:lnTo>
                    <a:pt x="347" y="84"/>
                  </a:lnTo>
                  <a:lnTo>
                    <a:pt x="299" y="3"/>
                  </a:lnTo>
                  <a:lnTo>
                    <a:pt x="285" y="6"/>
                  </a:lnTo>
                  <a:lnTo>
                    <a:pt x="280" y="7"/>
                  </a:lnTo>
                  <a:lnTo>
                    <a:pt x="274" y="8"/>
                  </a:lnTo>
                  <a:lnTo>
                    <a:pt x="269" y="9"/>
                  </a:lnTo>
                  <a:lnTo>
                    <a:pt x="264" y="12"/>
                  </a:lnTo>
                  <a:lnTo>
                    <a:pt x="259" y="13"/>
                  </a:lnTo>
                  <a:lnTo>
                    <a:pt x="254" y="15"/>
                  </a:lnTo>
                  <a:lnTo>
                    <a:pt x="250" y="16"/>
                  </a:lnTo>
                  <a:lnTo>
                    <a:pt x="245" y="18"/>
                  </a:lnTo>
                  <a:lnTo>
                    <a:pt x="232" y="22"/>
                  </a:lnTo>
                  <a:lnTo>
                    <a:pt x="236" y="115"/>
                  </a:lnTo>
                  <a:lnTo>
                    <a:pt x="229" y="119"/>
                  </a:lnTo>
                  <a:lnTo>
                    <a:pt x="221" y="123"/>
                  </a:lnTo>
                  <a:lnTo>
                    <a:pt x="213" y="128"/>
                  </a:lnTo>
                  <a:lnTo>
                    <a:pt x="206" y="132"/>
                  </a:lnTo>
                  <a:lnTo>
                    <a:pt x="125" y="88"/>
                  </a:lnTo>
                  <a:lnTo>
                    <a:pt x="116" y="96"/>
                  </a:lnTo>
                  <a:lnTo>
                    <a:pt x="108" y="103"/>
                  </a:lnTo>
                  <a:lnTo>
                    <a:pt x="100" y="110"/>
                  </a:lnTo>
                  <a:lnTo>
                    <a:pt x="93" y="119"/>
                  </a:lnTo>
                  <a:lnTo>
                    <a:pt x="86" y="126"/>
                  </a:lnTo>
                  <a:lnTo>
                    <a:pt x="77" y="137"/>
                  </a:lnTo>
                  <a:lnTo>
                    <a:pt x="126" y="213"/>
                  </a:lnTo>
                  <a:lnTo>
                    <a:pt x="121" y="221"/>
                  </a:lnTo>
                  <a:lnTo>
                    <a:pt x="116" y="229"/>
                  </a:lnTo>
                  <a:lnTo>
                    <a:pt x="110" y="239"/>
                  </a:lnTo>
                  <a:lnTo>
                    <a:pt x="106" y="247"/>
                  </a:lnTo>
                  <a:lnTo>
                    <a:pt x="17" y="248"/>
                  </a:lnTo>
                  <a:lnTo>
                    <a:pt x="12" y="260"/>
                  </a:lnTo>
                  <a:lnTo>
                    <a:pt x="9" y="271"/>
                  </a:lnTo>
                  <a:lnTo>
                    <a:pt x="7" y="280"/>
                  </a:lnTo>
                  <a:lnTo>
                    <a:pt x="4" y="291"/>
                  </a:lnTo>
                  <a:lnTo>
                    <a:pt x="2" y="301"/>
                  </a:lnTo>
                  <a:lnTo>
                    <a:pt x="0" y="315"/>
                  </a:lnTo>
                  <a:lnTo>
                    <a:pt x="78" y="354"/>
                  </a:lnTo>
                  <a:lnTo>
                    <a:pt x="77" y="365"/>
                  </a:lnTo>
                  <a:lnTo>
                    <a:pt x="77" y="376"/>
                  </a:lnTo>
                  <a:lnTo>
                    <a:pt x="77" y="386"/>
                  </a:lnTo>
                  <a:lnTo>
                    <a:pt x="78" y="398"/>
                  </a:lnTo>
                  <a:lnTo>
                    <a:pt x="3" y="443"/>
                  </a:lnTo>
                  <a:lnTo>
                    <a:pt x="6" y="455"/>
                  </a:lnTo>
                  <a:lnTo>
                    <a:pt x="8" y="466"/>
                  </a:lnTo>
                  <a:lnTo>
                    <a:pt x="11" y="476"/>
                  </a:lnTo>
                  <a:lnTo>
                    <a:pt x="15" y="485"/>
                  </a:lnTo>
                  <a:lnTo>
                    <a:pt x="18" y="495"/>
                  </a:lnTo>
                  <a:lnTo>
                    <a:pt x="22" y="507"/>
                  </a:lnTo>
                  <a:lnTo>
                    <a:pt x="108" y="503"/>
                  </a:lnTo>
                  <a:lnTo>
                    <a:pt x="113" y="514"/>
                  </a:lnTo>
                  <a:lnTo>
                    <a:pt x="120" y="523"/>
                  </a:lnTo>
                  <a:lnTo>
                    <a:pt x="126" y="532"/>
                  </a:lnTo>
                  <a:lnTo>
                    <a:pt x="132" y="542"/>
                  </a:lnTo>
                  <a:lnTo>
                    <a:pt x="89" y="618"/>
                  </a:lnTo>
                  <a:lnTo>
                    <a:pt x="99" y="627"/>
                  </a:lnTo>
                  <a:lnTo>
                    <a:pt x="106" y="634"/>
                  </a:lnTo>
                  <a:lnTo>
                    <a:pt x="113" y="641"/>
                  </a:lnTo>
                  <a:lnTo>
                    <a:pt x="121" y="648"/>
                  </a:lnTo>
                  <a:lnTo>
                    <a:pt x="128" y="654"/>
                  </a:lnTo>
                  <a:lnTo>
                    <a:pt x="138" y="664"/>
                  </a:lnTo>
                  <a:lnTo>
                    <a:pt x="211" y="617"/>
                  </a:lnTo>
                  <a:lnTo>
                    <a:pt x="216" y="620"/>
                  </a:lnTo>
                  <a:lnTo>
                    <a:pt x="221" y="623"/>
                  </a:lnTo>
                  <a:lnTo>
                    <a:pt x="226" y="626"/>
                  </a:lnTo>
                  <a:lnTo>
                    <a:pt x="231" y="628"/>
                  </a:lnTo>
                  <a:lnTo>
                    <a:pt x="235" y="631"/>
                  </a:lnTo>
                  <a:lnTo>
                    <a:pt x="240" y="633"/>
                  </a:lnTo>
                  <a:lnTo>
                    <a:pt x="246" y="635"/>
                  </a:lnTo>
                  <a:lnTo>
                    <a:pt x="251" y="638"/>
                  </a:lnTo>
                  <a:lnTo>
                    <a:pt x="252" y="723"/>
                  </a:lnTo>
                  <a:lnTo>
                    <a:pt x="265" y="727"/>
                  </a:lnTo>
                  <a:lnTo>
                    <a:pt x="271" y="728"/>
                  </a:lnTo>
                  <a:lnTo>
                    <a:pt x="275" y="730"/>
                  </a:lnTo>
                  <a:lnTo>
                    <a:pt x="280" y="731"/>
                  </a:lnTo>
                  <a:lnTo>
                    <a:pt x="285" y="732"/>
                  </a:lnTo>
                  <a:lnTo>
                    <a:pt x="289" y="733"/>
                  </a:lnTo>
                  <a:lnTo>
                    <a:pt x="295" y="734"/>
                  </a:lnTo>
                  <a:lnTo>
                    <a:pt x="300" y="735"/>
                  </a:lnTo>
                  <a:lnTo>
                    <a:pt x="305" y="736"/>
                  </a:lnTo>
                  <a:lnTo>
                    <a:pt x="318" y="739"/>
                  </a:lnTo>
                  <a:lnTo>
                    <a:pt x="358" y="661"/>
                  </a:lnTo>
                  <a:lnTo>
                    <a:pt x="363" y="661"/>
                  </a:lnTo>
                  <a:lnTo>
                    <a:pt x="369" y="661"/>
                  </a:lnTo>
                  <a:lnTo>
                    <a:pt x="375" y="661"/>
                  </a:lnTo>
                  <a:lnTo>
                    <a:pt x="380" y="661"/>
                  </a:lnTo>
                  <a:lnTo>
                    <a:pt x="385" y="661"/>
                  </a:lnTo>
                  <a:lnTo>
                    <a:pt x="391" y="661"/>
                  </a:lnTo>
                  <a:lnTo>
                    <a:pt x="397" y="660"/>
                  </a:lnTo>
                  <a:lnTo>
                    <a:pt x="402" y="660"/>
                  </a:lnTo>
                  <a:lnTo>
                    <a:pt x="447" y="734"/>
                  </a:lnTo>
                  <a:lnTo>
                    <a:pt x="459" y="730"/>
                  </a:lnTo>
                  <a:lnTo>
                    <a:pt x="463" y="729"/>
                  </a:lnTo>
                  <a:lnTo>
                    <a:pt x="468" y="728"/>
                  </a:lnTo>
                  <a:lnTo>
                    <a:pt x="473" y="727"/>
                  </a:lnTo>
                  <a:lnTo>
                    <a:pt x="476" y="726"/>
                  </a:lnTo>
                  <a:lnTo>
                    <a:pt x="481" y="724"/>
                  </a:lnTo>
                  <a:lnTo>
                    <a:pt x="487" y="723"/>
                  </a:lnTo>
                  <a:lnTo>
                    <a:pt x="492" y="721"/>
                  </a:lnTo>
                  <a:lnTo>
                    <a:pt x="499" y="719"/>
                  </a:lnTo>
                  <a:lnTo>
                    <a:pt x="511" y="714"/>
                  </a:lnTo>
                  <a:lnTo>
                    <a:pt x="507" y="626"/>
                  </a:lnTo>
                  <a:lnTo>
                    <a:pt x="511" y="623"/>
                  </a:lnTo>
                  <a:lnTo>
                    <a:pt x="516" y="621"/>
                  </a:lnTo>
                  <a:lnTo>
                    <a:pt x="520" y="618"/>
                  </a:lnTo>
                  <a:lnTo>
                    <a:pt x="525" y="615"/>
                  </a:lnTo>
                  <a:lnTo>
                    <a:pt x="529" y="613"/>
                  </a:lnTo>
                  <a:lnTo>
                    <a:pt x="533" y="609"/>
                  </a:lnTo>
                  <a:lnTo>
                    <a:pt x="537" y="607"/>
                  </a:lnTo>
                  <a:lnTo>
                    <a:pt x="541" y="604"/>
                  </a:lnTo>
                  <a:lnTo>
                    <a:pt x="618" y="648"/>
                  </a:lnTo>
                  <a:lnTo>
                    <a:pt x="629" y="638"/>
                  </a:lnTo>
                  <a:lnTo>
                    <a:pt x="636" y="630"/>
                  </a:lnTo>
                  <a:lnTo>
                    <a:pt x="643" y="623"/>
                  </a:lnTo>
                  <a:lnTo>
                    <a:pt x="651" y="615"/>
                  </a:lnTo>
                  <a:lnTo>
                    <a:pt x="657" y="607"/>
                  </a:lnTo>
                  <a:lnTo>
                    <a:pt x="665" y="597"/>
                  </a:lnTo>
                  <a:lnTo>
                    <a:pt x="616" y="520"/>
                  </a:lnTo>
                  <a:lnTo>
                    <a:pt x="620" y="511"/>
                  </a:lnTo>
                  <a:lnTo>
                    <a:pt x="625" y="504"/>
                  </a:lnTo>
                  <a:lnTo>
                    <a:pt x="628" y="496"/>
                  </a:lnTo>
                  <a:lnTo>
                    <a:pt x="632" y="488"/>
                  </a:lnTo>
                  <a:lnTo>
                    <a:pt x="723" y="486"/>
                  </a:lnTo>
                  <a:lnTo>
                    <a:pt x="728" y="473"/>
                  </a:lnTo>
                  <a:lnTo>
                    <a:pt x="731" y="463"/>
                  </a:lnTo>
                  <a:lnTo>
                    <a:pt x="733" y="452"/>
                  </a:lnTo>
                  <a:lnTo>
                    <a:pt x="735" y="442"/>
                  </a:lnTo>
                  <a:lnTo>
                    <a:pt x="737" y="431"/>
                  </a:lnTo>
                  <a:lnTo>
                    <a:pt x="739" y="418"/>
                  </a:lnTo>
                  <a:lnTo>
                    <a:pt x="656" y="375"/>
                  </a:lnTo>
                  <a:lnTo>
                    <a:pt x="656" y="367"/>
                  </a:lnTo>
                  <a:lnTo>
                    <a:pt x="655" y="358"/>
                  </a:lnTo>
                  <a:lnTo>
                    <a:pt x="655" y="351"/>
                  </a:lnTo>
                  <a:lnTo>
                    <a:pt x="654" y="343"/>
                  </a:lnTo>
                  <a:close/>
                </a:path>
              </a:pathLst>
            </a:custGeom>
            <a:solidFill>
              <a:srgbClr val="D3D3D3"/>
            </a:solidFill>
            <a:ln w="9525">
              <a:solidFill>
                <a:srgbClr val="D3D3D3"/>
              </a:solidFill>
              <a:round/>
              <a:headEnd/>
              <a:tailEnd/>
            </a:ln>
          </p:spPr>
          <p:txBody>
            <a:bodyPr/>
            <a:lstStyle/>
            <a:p>
              <a:endParaRPr lang="en-US" dirty="0">
                <a:latin typeface="+mj-lt"/>
              </a:endParaRPr>
            </a:p>
          </p:txBody>
        </p:sp>
        <p:sp>
          <p:nvSpPr>
            <p:cNvPr id="45" name="Oval 49">
              <a:extLst>
                <a:ext uri="{FF2B5EF4-FFF2-40B4-BE49-F238E27FC236}">
                  <a16:creationId xmlns:a16="http://schemas.microsoft.com/office/drawing/2014/main" xmlns="" id="{71604D3E-7EA1-4953-A234-3BD749B6BD28}"/>
                </a:ext>
              </a:extLst>
            </p:cNvPr>
            <p:cNvSpPr>
              <a:spLocks noChangeAspect="1" noChangeArrowheads="1"/>
            </p:cNvSpPr>
            <p:nvPr/>
          </p:nvSpPr>
          <p:spPr bwMode="gray">
            <a:xfrm>
              <a:off x="2526" y="2110"/>
              <a:ext cx="618" cy="618"/>
            </a:xfrm>
            <a:prstGeom prst="ellipse">
              <a:avLst/>
            </a:prstGeom>
            <a:solidFill>
              <a:schemeClr val="bg1"/>
            </a:solidFill>
            <a:ln w="9525" algn="ctr">
              <a:solidFill>
                <a:srgbClr val="D3D3D3"/>
              </a:solidFill>
              <a:round/>
              <a:headEnd/>
              <a:tailEnd/>
            </a:ln>
          </p:spPr>
          <p:txBody>
            <a:bodyPr wrap="none" lIns="0" tIns="0" rIns="0" bIns="0" anchor="ctr"/>
            <a:lstStyle/>
            <a:p>
              <a:pPr algn="ctr" defTabSz="1042988">
                <a:buSzPct val="90000"/>
              </a:pPr>
              <a:endParaRPr lang="en-US" sz="1000" dirty="0">
                <a:latin typeface="+mj-lt"/>
                <a:cs typeface="Arial" charset="0"/>
              </a:endParaRPr>
            </a:p>
          </p:txBody>
        </p:sp>
      </p:grpSp>
      <p:grpSp>
        <p:nvGrpSpPr>
          <p:cNvPr id="38" name="Group 26">
            <a:extLst>
              <a:ext uri="{FF2B5EF4-FFF2-40B4-BE49-F238E27FC236}">
                <a16:creationId xmlns:a16="http://schemas.microsoft.com/office/drawing/2014/main" xmlns="" id="{16943808-554C-4EB0-ABF7-11B451F06209}"/>
              </a:ext>
            </a:extLst>
          </p:cNvPr>
          <p:cNvGrpSpPr>
            <a:grpSpLocks noChangeAspect="1"/>
          </p:cNvGrpSpPr>
          <p:nvPr/>
        </p:nvGrpSpPr>
        <p:grpSpPr bwMode="gray">
          <a:xfrm>
            <a:off x="5354243" y="3232724"/>
            <a:ext cx="881571" cy="881571"/>
            <a:chOff x="2341" y="1925"/>
            <a:chExt cx="987" cy="987"/>
          </a:xfrm>
        </p:grpSpPr>
        <p:sp>
          <p:nvSpPr>
            <p:cNvPr id="40" name="Freeform 27">
              <a:extLst>
                <a:ext uri="{FF2B5EF4-FFF2-40B4-BE49-F238E27FC236}">
                  <a16:creationId xmlns:a16="http://schemas.microsoft.com/office/drawing/2014/main" xmlns="" id="{DAD81DB1-275B-4AD7-98C5-5C898E743B4E}"/>
                </a:ext>
              </a:extLst>
            </p:cNvPr>
            <p:cNvSpPr>
              <a:spLocks noChangeAspect="1"/>
            </p:cNvSpPr>
            <p:nvPr/>
          </p:nvSpPr>
          <p:spPr bwMode="gray">
            <a:xfrm>
              <a:off x="2341" y="1925"/>
              <a:ext cx="987" cy="987"/>
            </a:xfrm>
            <a:custGeom>
              <a:avLst/>
              <a:gdLst>
                <a:gd name="T0" fmla="*/ 1744 w 739"/>
                <a:gd name="T1" fmla="*/ 669 h 739"/>
                <a:gd name="T2" fmla="*/ 1734 w 739"/>
                <a:gd name="T3" fmla="*/ 637 h 739"/>
                <a:gd name="T4" fmla="*/ 1723 w 739"/>
                <a:gd name="T5" fmla="*/ 597 h 739"/>
                <a:gd name="T6" fmla="*/ 1702 w 739"/>
                <a:gd name="T7" fmla="*/ 541 h 739"/>
                <a:gd name="T8" fmla="*/ 1457 w 739"/>
                <a:gd name="T9" fmla="*/ 521 h 739"/>
                <a:gd name="T10" fmla="*/ 1547 w 739"/>
                <a:gd name="T11" fmla="*/ 292 h 739"/>
                <a:gd name="T12" fmla="*/ 1508 w 739"/>
                <a:gd name="T13" fmla="*/ 254 h 739"/>
                <a:gd name="T14" fmla="*/ 1478 w 739"/>
                <a:gd name="T15" fmla="*/ 224 h 739"/>
                <a:gd name="T16" fmla="*/ 1450 w 739"/>
                <a:gd name="T17" fmla="*/ 198 h 739"/>
                <a:gd name="T18" fmla="*/ 1221 w 739"/>
                <a:gd name="T19" fmla="*/ 291 h 739"/>
                <a:gd name="T20" fmla="*/ 1171 w 739"/>
                <a:gd name="T21" fmla="*/ 267 h 739"/>
                <a:gd name="T22" fmla="*/ 1127 w 739"/>
                <a:gd name="T23" fmla="*/ 28 h 739"/>
                <a:gd name="T24" fmla="*/ 1089 w 739"/>
                <a:gd name="T25" fmla="*/ 16 h 739"/>
                <a:gd name="T26" fmla="*/ 1048 w 739"/>
                <a:gd name="T27" fmla="*/ 7 h 739"/>
                <a:gd name="T28" fmla="*/ 903 w 739"/>
                <a:gd name="T29" fmla="*/ 198 h 739"/>
                <a:gd name="T30" fmla="*/ 873 w 739"/>
                <a:gd name="T31" fmla="*/ 198 h 739"/>
                <a:gd name="T32" fmla="*/ 845 w 739"/>
                <a:gd name="T33" fmla="*/ 198 h 739"/>
                <a:gd name="T34" fmla="*/ 712 w 739"/>
                <a:gd name="T35" fmla="*/ 7 h 739"/>
                <a:gd name="T36" fmla="*/ 653 w 739"/>
                <a:gd name="T37" fmla="*/ 20 h 739"/>
                <a:gd name="T38" fmla="*/ 617 w 739"/>
                <a:gd name="T39" fmla="*/ 31 h 739"/>
                <a:gd name="T40" fmla="*/ 584 w 739"/>
                <a:gd name="T41" fmla="*/ 43 h 739"/>
                <a:gd name="T42" fmla="*/ 546 w 739"/>
                <a:gd name="T43" fmla="*/ 283 h 739"/>
                <a:gd name="T44" fmla="*/ 490 w 739"/>
                <a:gd name="T45" fmla="*/ 314 h 739"/>
                <a:gd name="T46" fmla="*/ 256 w 739"/>
                <a:gd name="T47" fmla="*/ 246 h 739"/>
                <a:gd name="T48" fmla="*/ 206 w 739"/>
                <a:gd name="T49" fmla="*/ 299 h 739"/>
                <a:gd name="T50" fmla="*/ 288 w 739"/>
                <a:gd name="T51" fmla="*/ 526 h 739"/>
                <a:gd name="T52" fmla="*/ 254 w 739"/>
                <a:gd name="T53" fmla="*/ 589 h 739"/>
                <a:gd name="T54" fmla="*/ 21 w 739"/>
                <a:gd name="T55" fmla="*/ 645 h 739"/>
                <a:gd name="T56" fmla="*/ 5 w 739"/>
                <a:gd name="T57" fmla="*/ 717 h 739"/>
                <a:gd name="T58" fmla="*/ 184 w 739"/>
                <a:gd name="T59" fmla="*/ 868 h 739"/>
                <a:gd name="T60" fmla="*/ 186 w 739"/>
                <a:gd name="T61" fmla="*/ 950 h 739"/>
                <a:gd name="T62" fmla="*/ 20 w 739"/>
                <a:gd name="T63" fmla="*/ 1110 h 739"/>
                <a:gd name="T64" fmla="*/ 43 w 739"/>
                <a:gd name="T65" fmla="*/ 1179 h 739"/>
                <a:gd name="T66" fmla="*/ 270 w 739"/>
                <a:gd name="T67" fmla="*/ 1223 h 739"/>
                <a:gd name="T68" fmla="*/ 314 w 739"/>
                <a:gd name="T69" fmla="*/ 1292 h 739"/>
                <a:gd name="T70" fmla="*/ 254 w 739"/>
                <a:gd name="T71" fmla="*/ 1511 h 739"/>
                <a:gd name="T72" fmla="*/ 305 w 739"/>
                <a:gd name="T73" fmla="*/ 1557 h 739"/>
                <a:gd name="T74" fmla="*/ 514 w 739"/>
                <a:gd name="T75" fmla="*/ 1477 h 739"/>
                <a:gd name="T76" fmla="*/ 552 w 739"/>
                <a:gd name="T77" fmla="*/ 1497 h 739"/>
                <a:gd name="T78" fmla="*/ 586 w 739"/>
                <a:gd name="T79" fmla="*/ 1513 h 739"/>
                <a:gd name="T80" fmla="*/ 632 w 739"/>
                <a:gd name="T81" fmla="*/ 1732 h 739"/>
                <a:gd name="T82" fmla="*/ 668 w 739"/>
                <a:gd name="T83" fmla="*/ 1742 h 739"/>
                <a:gd name="T84" fmla="*/ 703 w 739"/>
                <a:gd name="T85" fmla="*/ 1748 h 739"/>
                <a:gd name="T86" fmla="*/ 759 w 739"/>
                <a:gd name="T87" fmla="*/ 1760 h 739"/>
                <a:gd name="T88" fmla="*/ 879 w 739"/>
                <a:gd name="T89" fmla="*/ 1575 h 739"/>
                <a:gd name="T90" fmla="*/ 916 w 739"/>
                <a:gd name="T91" fmla="*/ 1575 h 739"/>
                <a:gd name="T92" fmla="*/ 958 w 739"/>
                <a:gd name="T93" fmla="*/ 1572 h 739"/>
                <a:gd name="T94" fmla="*/ 1102 w 739"/>
                <a:gd name="T95" fmla="*/ 1738 h 739"/>
                <a:gd name="T96" fmla="*/ 1134 w 739"/>
                <a:gd name="T97" fmla="*/ 1731 h 739"/>
                <a:gd name="T98" fmla="*/ 1171 w 739"/>
                <a:gd name="T99" fmla="*/ 1718 h 739"/>
                <a:gd name="T100" fmla="*/ 1207 w 739"/>
                <a:gd name="T101" fmla="*/ 1492 h 739"/>
                <a:gd name="T102" fmla="*/ 1239 w 739"/>
                <a:gd name="T103" fmla="*/ 1472 h 739"/>
                <a:gd name="T104" fmla="*/ 1270 w 739"/>
                <a:gd name="T105" fmla="*/ 1450 h 739"/>
                <a:gd name="T106" fmla="*/ 1472 w 739"/>
                <a:gd name="T107" fmla="*/ 1543 h 739"/>
                <a:gd name="T108" fmla="*/ 1532 w 739"/>
                <a:gd name="T109" fmla="*/ 1484 h 739"/>
                <a:gd name="T110" fmla="*/ 1584 w 739"/>
                <a:gd name="T111" fmla="*/ 1421 h 739"/>
                <a:gd name="T112" fmla="*/ 1489 w 739"/>
                <a:gd name="T113" fmla="*/ 1201 h 739"/>
                <a:gd name="T114" fmla="*/ 1723 w 739"/>
                <a:gd name="T115" fmla="*/ 1158 h 739"/>
                <a:gd name="T116" fmla="*/ 1747 w 739"/>
                <a:gd name="T117" fmla="*/ 1078 h 739"/>
                <a:gd name="T118" fmla="*/ 1760 w 739"/>
                <a:gd name="T119" fmla="*/ 995 h 739"/>
                <a:gd name="T120" fmla="*/ 1561 w 739"/>
                <a:gd name="T121" fmla="*/ 852 h 73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39"/>
                <a:gd name="T184" fmla="*/ 0 h 739"/>
                <a:gd name="T185" fmla="*/ 739 w 739"/>
                <a:gd name="T186" fmla="*/ 739 h 73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39" h="739">
                  <a:moveTo>
                    <a:pt x="654" y="343"/>
                  </a:moveTo>
                  <a:lnTo>
                    <a:pt x="735" y="295"/>
                  </a:lnTo>
                  <a:lnTo>
                    <a:pt x="732" y="281"/>
                  </a:lnTo>
                  <a:lnTo>
                    <a:pt x="731" y="276"/>
                  </a:lnTo>
                  <a:lnTo>
                    <a:pt x="730" y="272"/>
                  </a:lnTo>
                  <a:lnTo>
                    <a:pt x="728" y="267"/>
                  </a:lnTo>
                  <a:lnTo>
                    <a:pt x="727" y="263"/>
                  </a:lnTo>
                  <a:lnTo>
                    <a:pt x="724" y="257"/>
                  </a:lnTo>
                  <a:lnTo>
                    <a:pt x="723" y="251"/>
                  </a:lnTo>
                  <a:lnTo>
                    <a:pt x="721" y="246"/>
                  </a:lnTo>
                  <a:lnTo>
                    <a:pt x="719" y="240"/>
                  </a:lnTo>
                  <a:lnTo>
                    <a:pt x="714" y="227"/>
                  </a:lnTo>
                  <a:lnTo>
                    <a:pt x="619" y="231"/>
                  </a:lnTo>
                  <a:lnTo>
                    <a:pt x="615" y="225"/>
                  </a:lnTo>
                  <a:lnTo>
                    <a:pt x="612" y="219"/>
                  </a:lnTo>
                  <a:lnTo>
                    <a:pt x="608" y="213"/>
                  </a:lnTo>
                  <a:lnTo>
                    <a:pt x="604" y="206"/>
                  </a:lnTo>
                  <a:lnTo>
                    <a:pt x="649" y="123"/>
                  </a:lnTo>
                  <a:lnTo>
                    <a:pt x="640" y="114"/>
                  </a:lnTo>
                  <a:lnTo>
                    <a:pt x="637" y="109"/>
                  </a:lnTo>
                  <a:lnTo>
                    <a:pt x="633" y="106"/>
                  </a:lnTo>
                  <a:lnTo>
                    <a:pt x="629" y="102"/>
                  </a:lnTo>
                  <a:lnTo>
                    <a:pt x="625" y="98"/>
                  </a:lnTo>
                  <a:lnTo>
                    <a:pt x="621" y="94"/>
                  </a:lnTo>
                  <a:lnTo>
                    <a:pt x="617" y="91"/>
                  </a:lnTo>
                  <a:lnTo>
                    <a:pt x="613" y="87"/>
                  </a:lnTo>
                  <a:lnTo>
                    <a:pt x="609" y="83"/>
                  </a:lnTo>
                  <a:lnTo>
                    <a:pt x="598" y="75"/>
                  </a:lnTo>
                  <a:lnTo>
                    <a:pt x="518" y="126"/>
                  </a:lnTo>
                  <a:lnTo>
                    <a:pt x="512" y="122"/>
                  </a:lnTo>
                  <a:lnTo>
                    <a:pt x="506" y="119"/>
                  </a:lnTo>
                  <a:lnTo>
                    <a:pt x="499" y="115"/>
                  </a:lnTo>
                  <a:lnTo>
                    <a:pt x="492" y="112"/>
                  </a:lnTo>
                  <a:lnTo>
                    <a:pt x="490" y="17"/>
                  </a:lnTo>
                  <a:lnTo>
                    <a:pt x="478" y="13"/>
                  </a:lnTo>
                  <a:lnTo>
                    <a:pt x="473" y="12"/>
                  </a:lnTo>
                  <a:lnTo>
                    <a:pt x="467" y="9"/>
                  </a:lnTo>
                  <a:lnTo>
                    <a:pt x="462" y="8"/>
                  </a:lnTo>
                  <a:lnTo>
                    <a:pt x="457" y="7"/>
                  </a:lnTo>
                  <a:lnTo>
                    <a:pt x="452" y="5"/>
                  </a:lnTo>
                  <a:lnTo>
                    <a:pt x="445" y="4"/>
                  </a:lnTo>
                  <a:lnTo>
                    <a:pt x="440" y="3"/>
                  </a:lnTo>
                  <a:lnTo>
                    <a:pt x="435" y="2"/>
                  </a:lnTo>
                  <a:lnTo>
                    <a:pt x="422" y="0"/>
                  </a:lnTo>
                  <a:lnTo>
                    <a:pt x="379" y="83"/>
                  </a:lnTo>
                  <a:lnTo>
                    <a:pt x="375" y="83"/>
                  </a:lnTo>
                  <a:lnTo>
                    <a:pt x="371" y="83"/>
                  </a:lnTo>
                  <a:lnTo>
                    <a:pt x="367" y="83"/>
                  </a:lnTo>
                  <a:lnTo>
                    <a:pt x="363" y="83"/>
                  </a:lnTo>
                  <a:lnTo>
                    <a:pt x="359" y="83"/>
                  </a:lnTo>
                  <a:lnTo>
                    <a:pt x="355" y="83"/>
                  </a:lnTo>
                  <a:lnTo>
                    <a:pt x="351" y="84"/>
                  </a:lnTo>
                  <a:lnTo>
                    <a:pt x="347" y="84"/>
                  </a:lnTo>
                  <a:lnTo>
                    <a:pt x="299" y="3"/>
                  </a:lnTo>
                  <a:lnTo>
                    <a:pt x="285" y="6"/>
                  </a:lnTo>
                  <a:lnTo>
                    <a:pt x="280" y="7"/>
                  </a:lnTo>
                  <a:lnTo>
                    <a:pt x="274" y="8"/>
                  </a:lnTo>
                  <a:lnTo>
                    <a:pt x="269" y="9"/>
                  </a:lnTo>
                  <a:lnTo>
                    <a:pt x="264" y="12"/>
                  </a:lnTo>
                  <a:lnTo>
                    <a:pt x="259" y="13"/>
                  </a:lnTo>
                  <a:lnTo>
                    <a:pt x="254" y="15"/>
                  </a:lnTo>
                  <a:lnTo>
                    <a:pt x="250" y="16"/>
                  </a:lnTo>
                  <a:lnTo>
                    <a:pt x="245" y="18"/>
                  </a:lnTo>
                  <a:lnTo>
                    <a:pt x="232" y="22"/>
                  </a:lnTo>
                  <a:lnTo>
                    <a:pt x="236" y="115"/>
                  </a:lnTo>
                  <a:lnTo>
                    <a:pt x="229" y="119"/>
                  </a:lnTo>
                  <a:lnTo>
                    <a:pt x="221" y="123"/>
                  </a:lnTo>
                  <a:lnTo>
                    <a:pt x="213" y="128"/>
                  </a:lnTo>
                  <a:lnTo>
                    <a:pt x="206" y="132"/>
                  </a:lnTo>
                  <a:lnTo>
                    <a:pt x="125" y="88"/>
                  </a:lnTo>
                  <a:lnTo>
                    <a:pt x="116" y="96"/>
                  </a:lnTo>
                  <a:lnTo>
                    <a:pt x="108" y="103"/>
                  </a:lnTo>
                  <a:lnTo>
                    <a:pt x="100" y="110"/>
                  </a:lnTo>
                  <a:lnTo>
                    <a:pt x="93" y="119"/>
                  </a:lnTo>
                  <a:lnTo>
                    <a:pt x="86" y="126"/>
                  </a:lnTo>
                  <a:lnTo>
                    <a:pt x="77" y="137"/>
                  </a:lnTo>
                  <a:lnTo>
                    <a:pt x="126" y="213"/>
                  </a:lnTo>
                  <a:lnTo>
                    <a:pt x="121" y="221"/>
                  </a:lnTo>
                  <a:lnTo>
                    <a:pt x="116" y="229"/>
                  </a:lnTo>
                  <a:lnTo>
                    <a:pt x="110" y="239"/>
                  </a:lnTo>
                  <a:lnTo>
                    <a:pt x="106" y="247"/>
                  </a:lnTo>
                  <a:lnTo>
                    <a:pt x="17" y="248"/>
                  </a:lnTo>
                  <a:lnTo>
                    <a:pt x="12" y="260"/>
                  </a:lnTo>
                  <a:lnTo>
                    <a:pt x="9" y="271"/>
                  </a:lnTo>
                  <a:lnTo>
                    <a:pt x="7" y="280"/>
                  </a:lnTo>
                  <a:lnTo>
                    <a:pt x="4" y="291"/>
                  </a:lnTo>
                  <a:lnTo>
                    <a:pt x="2" y="301"/>
                  </a:lnTo>
                  <a:lnTo>
                    <a:pt x="0" y="315"/>
                  </a:lnTo>
                  <a:lnTo>
                    <a:pt x="78" y="354"/>
                  </a:lnTo>
                  <a:lnTo>
                    <a:pt x="77" y="365"/>
                  </a:lnTo>
                  <a:lnTo>
                    <a:pt x="77" y="376"/>
                  </a:lnTo>
                  <a:lnTo>
                    <a:pt x="77" y="386"/>
                  </a:lnTo>
                  <a:lnTo>
                    <a:pt x="78" y="398"/>
                  </a:lnTo>
                  <a:lnTo>
                    <a:pt x="3" y="443"/>
                  </a:lnTo>
                  <a:lnTo>
                    <a:pt x="6" y="455"/>
                  </a:lnTo>
                  <a:lnTo>
                    <a:pt x="8" y="466"/>
                  </a:lnTo>
                  <a:lnTo>
                    <a:pt x="11" y="476"/>
                  </a:lnTo>
                  <a:lnTo>
                    <a:pt x="15" y="485"/>
                  </a:lnTo>
                  <a:lnTo>
                    <a:pt x="18" y="495"/>
                  </a:lnTo>
                  <a:lnTo>
                    <a:pt x="22" y="507"/>
                  </a:lnTo>
                  <a:lnTo>
                    <a:pt x="108" y="503"/>
                  </a:lnTo>
                  <a:lnTo>
                    <a:pt x="113" y="514"/>
                  </a:lnTo>
                  <a:lnTo>
                    <a:pt x="120" y="523"/>
                  </a:lnTo>
                  <a:lnTo>
                    <a:pt x="126" y="532"/>
                  </a:lnTo>
                  <a:lnTo>
                    <a:pt x="132" y="542"/>
                  </a:lnTo>
                  <a:lnTo>
                    <a:pt x="89" y="618"/>
                  </a:lnTo>
                  <a:lnTo>
                    <a:pt x="99" y="627"/>
                  </a:lnTo>
                  <a:lnTo>
                    <a:pt x="106" y="634"/>
                  </a:lnTo>
                  <a:lnTo>
                    <a:pt x="113" y="641"/>
                  </a:lnTo>
                  <a:lnTo>
                    <a:pt x="121" y="648"/>
                  </a:lnTo>
                  <a:lnTo>
                    <a:pt x="128" y="654"/>
                  </a:lnTo>
                  <a:lnTo>
                    <a:pt x="138" y="664"/>
                  </a:lnTo>
                  <a:lnTo>
                    <a:pt x="211" y="617"/>
                  </a:lnTo>
                  <a:lnTo>
                    <a:pt x="216" y="620"/>
                  </a:lnTo>
                  <a:lnTo>
                    <a:pt x="221" y="623"/>
                  </a:lnTo>
                  <a:lnTo>
                    <a:pt x="226" y="626"/>
                  </a:lnTo>
                  <a:lnTo>
                    <a:pt x="231" y="628"/>
                  </a:lnTo>
                  <a:lnTo>
                    <a:pt x="235" y="631"/>
                  </a:lnTo>
                  <a:lnTo>
                    <a:pt x="240" y="633"/>
                  </a:lnTo>
                  <a:lnTo>
                    <a:pt x="246" y="635"/>
                  </a:lnTo>
                  <a:lnTo>
                    <a:pt x="251" y="638"/>
                  </a:lnTo>
                  <a:lnTo>
                    <a:pt x="252" y="723"/>
                  </a:lnTo>
                  <a:lnTo>
                    <a:pt x="265" y="727"/>
                  </a:lnTo>
                  <a:lnTo>
                    <a:pt x="271" y="728"/>
                  </a:lnTo>
                  <a:lnTo>
                    <a:pt x="275" y="730"/>
                  </a:lnTo>
                  <a:lnTo>
                    <a:pt x="280" y="731"/>
                  </a:lnTo>
                  <a:lnTo>
                    <a:pt x="285" y="732"/>
                  </a:lnTo>
                  <a:lnTo>
                    <a:pt x="289" y="733"/>
                  </a:lnTo>
                  <a:lnTo>
                    <a:pt x="295" y="734"/>
                  </a:lnTo>
                  <a:lnTo>
                    <a:pt x="300" y="735"/>
                  </a:lnTo>
                  <a:lnTo>
                    <a:pt x="305" y="736"/>
                  </a:lnTo>
                  <a:lnTo>
                    <a:pt x="318" y="739"/>
                  </a:lnTo>
                  <a:lnTo>
                    <a:pt x="358" y="661"/>
                  </a:lnTo>
                  <a:lnTo>
                    <a:pt x="363" y="661"/>
                  </a:lnTo>
                  <a:lnTo>
                    <a:pt x="369" y="661"/>
                  </a:lnTo>
                  <a:lnTo>
                    <a:pt x="375" y="661"/>
                  </a:lnTo>
                  <a:lnTo>
                    <a:pt x="380" y="661"/>
                  </a:lnTo>
                  <a:lnTo>
                    <a:pt x="385" y="661"/>
                  </a:lnTo>
                  <a:lnTo>
                    <a:pt x="391" y="661"/>
                  </a:lnTo>
                  <a:lnTo>
                    <a:pt x="397" y="660"/>
                  </a:lnTo>
                  <a:lnTo>
                    <a:pt x="402" y="660"/>
                  </a:lnTo>
                  <a:lnTo>
                    <a:pt x="447" y="734"/>
                  </a:lnTo>
                  <a:lnTo>
                    <a:pt x="459" y="730"/>
                  </a:lnTo>
                  <a:lnTo>
                    <a:pt x="463" y="729"/>
                  </a:lnTo>
                  <a:lnTo>
                    <a:pt x="468" y="728"/>
                  </a:lnTo>
                  <a:lnTo>
                    <a:pt x="473" y="727"/>
                  </a:lnTo>
                  <a:lnTo>
                    <a:pt x="476" y="726"/>
                  </a:lnTo>
                  <a:lnTo>
                    <a:pt x="481" y="724"/>
                  </a:lnTo>
                  <a:lnTo>
                    <a:pt x="487" y="723"/>
                  </a:lnTo>
                  <a:lnTo>
                    <a:pt x="492" y="721"/>
                  </a:lnTo>
                  <a:lnTo>
                    <a:pt x="499" y="719"/>
                  </a:lnTo>
                  <a:lnTo>
                    <a:pt x="511" y="714"/>
                  </a:lnTo>
                  <a:lnTo>
                    <a:pt x="507" y="626"/>
                  </a:lnTo>
                  <a:lnTo>
                    <a:pt x="511" y="623"/>
                  </a:lnTo>
                  <a:lnTo>
                    <a:pt x="516" y="621"/>
                  </a:lnTo>
                  <a:lnTo>
                    <a:pt x="520" y="618"/>
                  </a:lnTo>
                  <a:lnTo>
                    <a:pt x="525" y="615"/>
                  </a:lnTo>
                  <a:lnTo>
                    <a:pt x="529" y="613"/>
                  </a:lnTo>
                  <a:lnTo>
                    <a:pt x="533" y="609"/>
                  </a:lnTo>
                  <a:lnTo>
                    <a:pt x="537" y="607"/>
                  </a:lnTo>
                  <a:lnTo>
                    <a:pt x="541" y="604"/>
                  </a:lnTo>
                  <a:lnTo>
                    <a:pt x="618" y="648"/>
                  </a:lnTo>
                  <a:lnTo>
                    <a:pt x="629" y="638"/>
                  </a:lnTo>
                  <a:lnTo>
                    <a:pt x="636" y="630"/>
                  </a:lnTo>
                  <a:lnTo>
                    <a:pt x="643" y="623"/>
                  </a:lnTo>
                  <a:lnTo>
                    <a:pt x="651" y="615"/>
                  </a:lnTo>
                  <a:lnTo>
                    <a:pt x="657" y="607"/>
                  </a:lnTo>
                  <a:lnTo>
                    <a:pt x="665" y="597"/>
                  </a:lnTo>
                  <a:lnTo>
                    <a:pt x="616" y="520"/>
                  </a:lnTo>
                  <a:lnTo>
                    <a:pt x="620" y="511"/>
                  </a:lnTo>
                  <a:lnTo>
                    <a:pt x="625" y="504"/>
                  </a:lnTo>
                  <a:lnTo>
                    <a:pt x="628" y="496"/>
                  </a:lnTo>
                  <a:lnTo>
                    <a:pt x="632" y="488"/>
                  </a:lnTo>
                  <a:lnTo>
                    <a:pt x="723" y="486"/>
                  </a:lnTo>
                  <a:lnTo>
                    <a:pt x="728" y="473"/>
                  </a:lnTo>
                  <a:lnTo>
                    <a:pt x="731" y="463"/>
                  </a:lnTo>
                  <a:lnTo>
                    <a:pt x="733" y="452"/>
                  </a:lnTo>
                  <a:lnTo>
                    <a:pt x="735" y="442"/>
                  </a:lnTo>
                  <a:lnTo>
                    <a:pt x="737" y="431"/>
                  </a:lnTo>
                  <a:lnTo>
                    <a:pt x="739" y="418"/>
                  </a:lnTo>
                  <a:lnTo>
                    <a:pt x="656" y="375"/>
                  </a:lnTo>
                  <a:lnTo>
                    <a:pt x="656" y="367"/>
                  </a:lnTo>
                  <a:lnTo>
                    <a:pt x="655" y="358"/>
                  </a:lnTo>
                  <a:lnTo>
                    <a:pt x="655" y="351"/>
                  </a:lnTo>
                  <a:lnTo>
                    <a:pt x="654" y="343"/>
                  </a:lnTo>
                  <a:close/>
                </a:path>
              </a:pathLst>
            </a:custGeom>
            <a:solidFill>
              <a:srgbClr val="D3D3D3"/>
            </a:solidFill>
            <a:ln w="9525">
              <a:solidFill>
                <a:srgbClr val="D3D3D3"/>
              </a:solidFill>
              <a:round/>
              <a:headEnd/>
              <a:tailEnd/>
            </a:ln>
          </p:spPr>
          <p:txBody>
            <a:bodyPr/>
            <a:lstStyle/>
            <a:p>
              <a:endParaRPr lang="en-US" dirty="0">
                <a:latin typeface="+mj-lt"/>
              </a:endParaRPr>
            </a:p>
          </p:txBody>
        </p:sp>
        <p:sp>
          <p:nvSpPr>
            <p:cNvPr id="41" name="Oval 28">
              <a:extLst>
                <a:ext uri="{FF2B5EF4-FFF2-40B4-BE49-F238E27FC236}">
                  <a16:creationId xmlns:a16="http://schemas.microsoft.com/office/drawing/2014/main" xmlns="" id="{497F2611-B7E5-499B-9A3E-2B8C9FED29C8}"/>
                </a:ext>
              </a:extLst>
            </p:cNvPr>
            <p:cNvSpPr>
              <a:spLocks noChangeAspect="1" noChangeArrowheads="1"/>
            </p:cNvSpPr>
            <p:nvPr/>
          </p:nvSpPr>
          <p:spPr bwMode="gray">
            <a:xfrm>
              <a:off x="2526" y="2110"/>
              <a:ext cx="618" cy="618"/>
            </a:xfrm>
            <a:prstGeom prst="ellipse">
              <a:avLst/>
            </a:prstGeom>
            <a:solidFill>
              <a:schemeClr val="bg1"/>
            </a:solidFill>
            <a:ln w="9525" algn="ctr">
              <a:solidFill>
                <a:srgbClr val="D3D3D3"/>
              </a:solidFill>
              <a:round/>
              <a:headEnd/>
              <a:tailEnd/>
            </a:ln>
          </p:spPr>
          <p:txBody>
            <a:bodyPr lIns="0" tIns="0" rIns="0" bIns="0" anchor="ctr"/>
            <a:lstStyle/>
            <a:p>
              <a:pPr algn="ctr" defTabSz="1042988">
                <a:buSzPct val="90000"/>
              </a:pPr>
              <a:endParaRPr lang="en-US" sz="1000" dirty="0">
                <a:latin typeface="+mj-lt"/>
                <a:cs typeface="Arial" charset="0"/>
              </a:endParaRPr>
            </a:p>
          </p:txBody>
        </p:sp>
      </p:grpSp>
      <p:grpSp>
        <p:nvGrpSpPr>
          <p:cNvPr id="30" name="Group 47">
            <a:extLst>
              <a:ext uri="{FF2B5EF4-FFF2-40B4-BE49-F238E27FC236}">
                <a16:creationId xmlns:a16="http://schemas.microsoft.com/office/drawing/2014/main" xmlns="" id="{6D809B0E-04C4-4159-9485-4CB3469D5803}"/>
              </a:ext>
            </a:extLst>
          </p:cNvPr>
          <p:cNvGrpSpPr>
            <a:grpSpLocks noChangeAspect="1"/>
          </p:cNvGrpSpPr>
          <p:nvPr/>
        </p:nvGrpSpPr>
        <p:grpSpPr bwMode="gray">
          <a:xfrm>
            <a:off x="5406519" y="5124610"/>
            <a:ext cx="863439" cy="863439"/>
            <a:chOff x="2341" y="1925"/>
            <a:chExt cx="987" cy="987"/>
          </a:xfrm>
        </p:grpSpPr>
        <p:sp>
          <p:nvSpPr>
            <p:cNvPr id="32" name="Freeform 48">
              <a:extLst>
                <a:ext uri="{FF2B5EF4-FFF2-40B4-BE49-F238E27FC236}">
                  <a16:creationId xmlns:a16="http://schemas.microsoft.com/office/drawing/2014/main" xmlns="" id="{0EAE5AE5-BC14-41F0-8AA6-521D6C9994A3}"/>
                </a:ext>
              </a:extLst>
            </p:cNvPr>
            <p:cNvSpPr>
              <a:spLocks noChangeAspect="1"/>
            </p:cNvSpPr>
            <p:nvPr/>
          </p:nvSpPr>
          <p:spPr bwMode="gray">
            <a:xfrm>
              <a:off x="2341" y="1925"/>
              <a:ext cx="987" cy="987"/>
            </a:xfrm>
            <a:custGeom>
              <a:avLst/>
              <a:gdLst>
                <a:gd name="T0" fmla="*/ 1744 w 739"/>
                <a:gd name="T1" fmla="*/ 669 h 739"/>
                <a:gd name="T2" fmla="*/ 1734 w 739"/>
                <a:gd name="T3" fmla="*/ 637 h 739"/>
                <a:gd name="T4" fmla="*/ 1723 w 739"/>
                <a:gd name="T5" fmla="*/ 597 h 739"/>
                <a:gd name="T6" fmla="*/ 1702 w 739"/>
                <a:gd name="T7" fmla="*/ 541 h 739"/>
                <a:gd name="T8" fmla="*/ 1457 w 739"/>
                <a:gd name="T9" fmla="*/ 521 h 739"/>
                <a:gd name="T10" fmla="*/ 1547 w 739"/>
                <a:gd name="T11" fmla="*/ 292 h 739"/>
                <a:gd name="T12" fmla="*/ 1508 w 739"/>
                <a:gd name="T13" fmla="*/ 254 h 739"/>
                <a:gd name="T14" fmla="*/ 1478 w 739"/>
                <a:gd name="T15" fmla="*/ 224 h 739"/>
                <a:gd name="T16" fmla="*/ 1450 w 739"/>
                <a:gd name="T17" fmla="*/ 198 h 739"/>
                <a:gd name="T18" fmla="*/ 1221 w 739"/>
                <a:gd name="T19" fmla="*/ 291 h 739"/>
                <a:gd name="T20" fmla="*/ 1171 w 739"/>
                <a:gd name="T21" fmla="*/ 267 h 739"/>
                <a:gd name="T22" fmla="*/ 1127 w 739"/>
                <a:gd name="T23" fmla="*/ 28 h 739"/>
                <a:gd name="T24" fmla="*/ 1089 w 739"/>
                <a:gd name="T25" fmla="*/ 16 h 739"/>
                <a:gd name="T26" fmla="*/ 1048 w 739"/>
                <a:gd name="T27" fmla="*/ 7 h 739"/>
                <a:gd name="T28" fmla="*/ 903 w 739"/>
                <a:gd name="T29" fmla="*/ 198 h 739"/>
                <a:gd name="T30" fmla="*/ 873 w 739"/>
                <a:gd name="T31" fmla="*/ 198 h 739"/>
                <a:gd name="T32" fmla="*/ 845 w 739"/>
                <a:gd name="T33" fmla="*/ 198 h 739"/>
                <a:gd name="T34" fmla="*/ 712 w 739"/>
                <a:gd name="T35" fmla="*/ 7 h 739"/>
                <a:gd name="T36" fmla="*/ 653 w 739"/>
                <a:gd name="T37" fmla="*/ 20 h 739"/>
                <a:gd name="T38" fmla="*/ 617 w 739"/>
                <a:gd name="T39" fmla="*/ 31 h 739"/>
                <a:gd name="T40" fmla="*/ 584 w 739"/>
                <a:gd name="T41" fmla="*/ 43 h 739"/>
                <a:gd name="T42" fmla="*/ 546 w 739"/>
                <a:gd name="T43" fmla="*/ 283 h 739"/>
                <a:gd name="T44" fmla="*/ 490 w 739"/>
                <a:gd name="T45" fmla="*/ 314 h 739"/>
                <a:gd name="T46" fmla="*/ 256 w 739"/>
                <a:gd name="T47" fmla="*/ 246 h 739"/>
                <a:gd name="T48" fmla="*/ 206 w 739"/>
                <a:gd name="T49" fmla="*/ 299 h 739"/>
                <a:gd name="T50" fmla="*/ 288 w 739"/>
                <a:gd name="T51" fmla="*/ 526 h 739"/>
                <a:gd name="T52" fmla="*/ 254 w 739"/>
                <a:gd name="T53" fmla="*/ 589 h 739"/>
                <a:gd name="T54" fmla="*/ 21 w 739"/>
                <a:gd name="T55" fmla="*/ 645 h 739"/>
                <a:gd name="T56" fmla="*/ 5 w 739"/>
                <a:gd name="T57" fmla="*/ 717 h 739"/>
                <a:gd name="T58" fmla="*/ 184 w 739"/>
                <a:gd name="T59" fmla="*/ 868 h 739"/>
                <a:gd name="T60" fmla="*/ 186 w 739"/>
                <a:gd name="T61" fmla="*/ 950 h 739"/>
                <a:gd name="T62" fmla="*/ 20 w 739"/>
                <a:gd name="T63" fmla="*/ 1110 h 739"/>
                <a:gd name="T64" fmla="*/ 43 w 739"/>
                <a:gd name="T65" fmla="*/ 1179 h 739"/>
                <a:gd name="T66" fmla="*/ 270 w 739"/>
                <a:gd name="T67" fmla="*/ 1223 h 739"/>
                <a:gd name="T68" fmla="*/ 314 w 739"/>
                <a:gd name="T69" fmla="*/ 1292 h 739"/>
                <a:gd name="T70" fmla="*/ 254 w 739"/>
                <a:gd name="T71" fmla="*/ 1511 h 739"/>
                <a:gd name="T72" fmla="*/ 305 w 739"/>
                <a:gd name="T73" fmla="*/ 1557 h 739"/>
                <a:gd name="T74" fmla="*/ 514 w 739"/>
                <a:gd name="T75" fmla="*/ 1477 h 739"/>
                <a:gd name="T76" fmla="*/ 552 w 739"/>
                <a:gd name="T77" fmla="*/ 1497 h 739"/>
                <a:gd name="T78" fmla="*/ 586 w 739"/>
                <a:gd name="T79" fmla="*/ 1513 h 739"/>
                <a:gd name="T80" fmla="*/ 632 w 739"/>
                <a:gd name="T81" fmla="*/ 1732 h 739"/>
                <a:gd name="T82" fmla="*/ 668 w 739"/>
                <a:gd name="T83" fmla="*/ 1742 h 739"/>
                <a:gd name="T84" fmla="*/ 703 w 739"/>
                <a:gd name="T85" fmla="*/ 1748 h 739"/>
                <a:gd name="T86" fmla="*/ 759 w 739"/>
                <a:gd name="T87" fmla="*/ 1760 h 739"/>
                <a:gd name="T88" fmla="*/ 879 w 739"/>
                <a:gd name="T89" fmla="*/ 1575 h 739"/>
                <a:gd name="T90" fmla="*/ 916 w 739"/>
                <a:gd name="T91" fmla="*/ 1575 h 739"/>
                <a:gd name="T92" fmla="*/ 958 w 739"/>
                <a:gd name="T93" fmla="*/ 1572 h 739"/>
                <a:gd name="T94" fmla="*/ 1102 w 739"/>
                <a:gd name="T95" fmla="*/ 1738 h 739"/>
                <a:gd name="T96" fmla="*/ 1134 w 739"/>
                <a:gd name="T97" fmla="*/ 1731 h 739"/>
                <a:gd name="T98" fmla="*/ 1171 w 739"/>
                <a:gd name="T99" fmla="*/ 1718 h 739"/>
                <a:gd name="T100" fmla="*/ 1207 w 739"/>
                <a:gd name="T101" fmla="*/ 1492 h 739"/>
                <a:gd name="T102" fmla="*/ 1239 w 739"/>
                <a:gd name="T103" fmla="*/ 1472 h 739"/>
                <a:gd name="T104" fmla="*/ 1270 w 739"/>
                <a:gd name="T105" fmla="*/ 1450 h 739"/>
                <a:gd name="T106" fmla="*/ 1472 w 739"/>
                <a:gd name="T107" fmla="*/ 1543 h 739"/>
                <a:gd name="T108" fmla="*/ 1532 w 739"/>
                <a:gd name="T109" fmla="*/ 1484 h 739"/>
                <a:gd name="T110" fmla="*/ 1584 w 739"/>
                <a:gd name="T111" fmla="*/ 1421 h 739"/>
                <a:gd name="T112" fmla="*/ 1489 w 739"/>
                <a:gd name="T113" fmla="*/ 1201 h 739"/>
                <a:gd name="T114" fmla="*/ 1723 w 739"/>
                <a:gd name="T115" fmla="*/ 1158 h 739"/>
                <a:gd name="T116" fmla="*/ 1747 w 739"/>
                <a:gd name="T117" fmla="*/ 1078 h 739"/>
                <a:gd name="T118" fmla="*/ 1760 w 739"/>
                <a:gd name="T119" fmla="*/ 995 h 739"/>
                <a:gd name="T120" fmla="*/ 1561 w 739"/>
                <a:gd name="T121" fmla="*/ 852 h 73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39"/>
                <a:gd name="T184" fmla="*/ 0 h 739"/>
                <a:gd name="T185" fmla="*/ 739 w 739"/>
                <a:gd name="T186" fmla="*/ 739 h 73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39" h="739">
                  <a:moveTo>
                    <a:pt x="654" y="343"/>
                  </a:moveTo>
                  <a:lnTo>
                    <a:pt x="735" y="295"/>
                  </a:lnTo>
                  <a:lnTo>
                    <a:pt x="732" y="281"/>
                  </a:lnTo>
                  <a:lnTo>
                    <a:pt x="731" y="276"/>
                  </a:lnTo>
                  <a:lnTo>
                    <a:pt x="730" y="272"/>
                  </a:lnTo>
                  <a:lnTo>
                    <a:pt x="728" y="267"/>
                  </a:lnTo>
                  <a:lnTo>
                    <a:pt x="727" y="263"/>
                  </a:lnTo>
                  <a:lnTo>
                    <a:pt x="724" y="257"/>
                  </a:lnTo>
                  <a:lnTo>
                    <a:pt x="723" y="251"/>
                  </a:lnTo>
                  <a:lnTo>
                    <a:pt x="721" y="246"/>
                  </a:lnTo>
                  <a:lnTo>
                    <a:pt x="719" y="240"/>
                  </a:lnTo>
                  <a:lnTo>
                    <a:pt x="714" y="227"/>
                  </a:lnTo>
                  <a:lnTo>
                    <a:pt x="619" y="231"/>
                  </a:lnTo>
                  <a:lnTo>
                    <a:pt x="615" y="225"/>
                  </a:lnTo>
                  <a:lnTo>
                    <a:pt x="612" y="219"/>
                  </a:lnTo>
                  <a:lnTo>
                    <a:pt x="608" y="213"/>
                  </a:lnTo>
                  <a:lnTo>
                    <a:pt x="604" y="206"/>
                  </a:lnTo>
                  <a:lnTo>
                    <a:pt x="649" y="123"/>
                  </a:lnTo>
                  <a:lnTo>
                    <a:pt x="640" y="114"/>
                  </a:lnTo>
                  <a:lnTo>
                    <a:pt x="637" y="109"/>
                  </a:lnTo>
                  <a:lnTo>
                    <a:pt x="633" y="106"/>
                  </a:lnTo>
                  <a:lnTo>
                    <a:pt x="629" y="102"/>
                  </a:lnTo>
                  <a:lnTo>
                    <a:pt x="625" y="98"/>
                  </a:lnTo>
                  <a:lnTo>
                    <a:pt x="621" y="94"/>
                  </a:lnTo>
                  <a:lnTo>
                    <a:pt x="617" y="91"/>
                  </a:lnTo>
                  <a:lnTo>
                    <a:pt x="613" y="87"/>
                  </a:lnTo>
                  <a:lnTo>
                    <a:pt x="609" y="83"/>
                  </a:lnTo>
                  <a:lnTo>
                    <a:pt x="598" y="75"/>
                  </a:lnTo>
                  <a:lnTo>
                    <a:pt x="518" y="126"/>
                  </a:lnTo>
                  <a:lnTo>
                    <a:pt x="512" y="122"/>
                  </a:lnTo>
                  <a:lnTo>
                    <a:pt x="506" y="119"/>
                  </a:lnTo>
                  <a:lnTo>
                    <a:pt x="499" y="115"/>
                  </a:lnTo>
                  <a:lnTo>
                    <a:pt x="492" y="112"/>
                  </a:lnTo>
                  <a:lnTo>
                    <a:pt x="490" y="17"/>
                  </a:lnTo>
                  <a:lnTo>
                    <a:pt x="478" y="13"/>
                  </a:lnTo>
                  <a:lnTo>
                    <a:pt x="473" y="12"/>
                  </a:lnTo>
                  <a:lnTo>
                    <a:pt x="467" y="9"/>
                  </a:lnTo>
                  <a:lnTo>
                    <a:pt x="462" y="8"/>
                  </a:lnTo>
                  <a:lnTo>
                    <a:pt x="457" y="7"/>
                  </a:lnTo>
                  <a:lnTo>
                    <a:pt x="452" y="5"/>
                  </a:lnTo>
                  <a:lnTo>
                    <a:pt x="445" y="4"/>
                  </a:lnTo>
                  <a:lnTo>
                    <a:pt x="440" y="3"/>
                  </a:lnTo>
                  <a:lnTo>
                    <a:pt x="435" y="2"/>
                  </a:lnTo>
                  <a:lnTo>
                    <a:pt x="422" y="0"/>
                  </a:lnTo>
                  <a:lnTo>
                    <a:pt x="379" y="83"/>
                  </a:lnTo>
                  <a:lnTo>
                    <a:pt x="375" y="83"/>
                  </a:lnTo>
                  <a:lnTo>
                    <a:pt x="371" y="83"/>
                  </a:lnTo>
                  <a:lnTo>
                    <a:pt x="367" y="83"/>
                  </a:lnTo>
                  <a:lnTo>
                    <a:pt x="363" y="83"/>
                  </a:lnTo>
                  <a:lnTo>
                    <a:pt x="359" y="83"/>
                  </a:lnTo>
                  <a:lnTo>
                    <a:pt x="355" y="83"/>
                  </a:lnTo>
                  <a:lnTo>
                    <a:pt x="351" y="84"/>
                  </a:lnTo>
                  <a:lnTo>
                    <a:pt x="347" y="84"/>
                  </a:lnTo>
                  <a:lnTo>
                    <a:pt x="299" y="3"/>
                  </a:lnTo>
                  <a:lnTo>
                    <a:pt x="285" y="6"/>
                  </a:lnTo>
                  <a:lnTo>
                    <a:pt x="280" y="7"/>
                  </a:lnTo>
                  <a:lnTo>
                    <a:pt x="274" y="8"/>
                  </a:lnTo>
                  <a:lnTo>
                    <a:pt x="269" y="9"/>
                  </a:lnTo>
                  <a:lnTo>
                    <a:pt x="264" y="12"/>
                  </a:lnTo>
                  <a:lnTo>
                    <a:pt x="259" y="13"/>
                  </a:lnTo>
                  <a:lnTo>
                    <a:pt x="254" y="15"/>
                  </a:lnTo>
                  <a:lnTo>
                    <a:pt x="250" y="16"/>
                  </a:lnTo>
                  <a:lnTo>
                    <a:pt x="245" y="18"/>
                  </a:lnTo>
                  <a:lnTo>
                    <a:pt x="232" y="22"/>
                  </a:lnTo>
                  <a:lnTo>
                    <a:pt x="236" y="115"/>
                  </a:lnTo>
                  <a:lnTo>
                    <a:pt x="229" y="119"/>
                  </a:lnTo>
                  <a:lnTo>
                    <a:pt x="221" y="123"/>
                  </a:lnTo>
                  <a:lnTo>
                    <a:pt x="213" y="128"/>
                  </a:lnTo>
                  <a:lnTo>
                    <a:pt x="206" y="132"/>
                  </a:lnTo>
                  <a:lnTo>
                    <a:pt x="125" y="88"/>
                  </a:lnTo>
                  <a:lnTo>
                    <a:pt x="116" y="96"/>
                  </a:lnTo>
                  <a:lnTo>
                    <a:pt x="108" y="103"/>
                  </a:lnTo>
                  <a:lnTo>
                    <a:pt x="100" y="110"/>
                  </a:lnTo>
                  <a:lnTo>
                    <a:pt x="93" y="119"/>
                  </a:lnTo>
                  <a:lnTo>
                    <a:pt x="86" y="126"/>
                  </a:lnTo>
                  <a:lnTo>
                    <a:pt x="77" y="137"/>
                  </a:lnTo>
                  <a:lnTo>
                    <a:pt x="126" y="213"/>
                  </a:lnTo>
                  <a:lnTo>
                    <a:pt x="121" y="221"/>
                  </a:lnTo>
                  <a:lnTo>
                    <a:pt x="116" y="229"/>
                  </a:lnTo>
                  <a:lnTo>
                    <a:pt x="110" y="239"/>
                  </a:lnTo>
                  <a:lnTo>
                    <a:pt x="106" y="247"/>
                  </a:lnTo>
                  <a:lnTo>
                    <a:pt x="17" y="248"/>
                  </a:lnTo>
                  <a:lnTo>
                    <a:pt x="12" y="260"/>
                  </a:lnTo>
                  <a:lnTo>
                    <a:pt x="9" y="271"/>
                  </a:lnTo>
                  <a:lnTo>
                    <a:pt x="7" y="280"/>
                  </a:lnTo>
                  <a:lnTo>
                    <a:pt x="4" y="291"/>
                  </a:lnTo>
                  <a:lnTo>
                    <a:pt x="2" y="301"/>
                  </a:lnTo>
                  <a:lnTo>
                    <a:pt x="0" y="315"/>
                  </a:lnTo>
                  <a:lnTo>
                    <a:pt x="78" y="354"/>
                  </a:lnTo>
                  <a:lnTo>
                    <a:pt x="77" y="365"/>
                  </a:lnTo>
                  <a:lnTo>
                    <a:pt x="77" y="376"/>
                  </a:lnTo>
                  <a:lnTo>
                    <a:pt x="77" y="386"/>
                  </a:lnTo>
                  <a:lnTo>
                    <a:pt x="78" y="398"/>
                  </a:lnTo>
                  <a:lnTo>
                    <a:pt x="3" y="443"/>
                  </a:lnTo>
                  <a:lnTo>
                    <a:pt x="6" y="455"/>
                  </a:lnTo>
                  <a:lnTo>
                    <a:pt x="8" y="466"/>
                  </a:lnTo>
                  <a:lnTo>
                    <a:pt x="11" y="476"/>
                  </a:lnTo>
                  <a:lnTo>
                    <a:pt x="15" y="485"/>
                  </a:lnTo>
                  <a:lnTo>
                    <a:pt x="18" y="495"/>
                  </a:lnTo>
                  <a:lnTo>
                    <a:pt x="22" y="507"/>
                  </a:lnTo>
                  <a:lnTo>
                    <a:pt x="108" y="503"/>
                  </a:lnTo>
                  <a:lnTo>
                    <a:pt x="113" y="514"/>
                  </a:lnTo>
                  <a:lnTo>
                    <a:pt x="120" y="523"/>
                  </a:lnTo>
                  <a:lnTo>
                    <a:pt x="126" y="532"/>
                  </a:lnTo>
                  <a:lnTo>
                    <a:pt x="132" y="542"/>
                  </a:lnTo>
                  <a:lnTo>
                    <a:pt x="89" y="618"/>
                  </a:lnTo>
                  <a:lnTo>
                    <a:pt x="99" y="627"/>
                  </a:lnTo>
                  <a:lnTo>
                    <a:pt x="106" y="634"/>
                  </a:lnTo>
                  <a:lnTo>
                    <a:pt x="113" y="641"/>
                  </a:lnTo>
                  <a:lnTo>
                    <a:pt x="121" y="648"/>
                  </a:lnTo>
                  <a:lnTo>
                    <a:pt x="128" y="654"/>
                  </a:lnTo>
                  <a:lnTo>
                    <a:pt x="138" y="664"/>
                  </a:lnTo>
                  <a:lnTo>
                    <a:pt x="211" y="617"/>
                  </a:lnTo>
                  <a:lnTo>
                    <a:pt x="216" y="620"/>
                  </a:lnTo>
                  <a:lnTo>
                    <a:pt x="221" y="623"/>
                  </a:lnTo>
                  <a:lnTo>
                    <a:pt x="226" y="626"/>
                  </a:lnTo>
                  <a:lnTo>
                    <a:pt x="231" y="628"/>
                  </a:lnTo>
                  <a:lnTo>
                    <a:pt x="235" y="631"/>
                  </a:lnTo>
                  <a:lnTo>
                    <a:pt x="240" y="633"/>
                  </a:lnTo>
                  <a:lnTo>
                    <a:pt x="246" y="635"/>
                  </a:lnTo>
                  <a:lnTo>
                    <a:pt x="251" y="638"/>
                  </a:lnTo>
                  <a:lnTo>
                    <a:pt x="252" y="723"/>
                  </a:lnTo>
                  <a:lnTo>
                    <a:pt x="265" y="727"/>
                  </a:lnTo>
                  <a:lnTo>
                    <a:pt x="271" y="728"/>
                  </a:lnTo>
                  <a:lnTo>
                    <a:pt x="275" y="730"/>
                  </a:lnTo>
                  <a:lnTo>
                    <a:pt x="280" y="731"/>
                  </a:lnTo>
                  <a:lnTo>
                    <a:pt x="285" y="732"/>
                  </a:lnTo>
                  <a:lnTo>
                    <a:pt x="289" y="733"/>
                  </a:lnTo>
                  <a:lnTo>
                    <a:pt x="295" y="734"/>
                  </a:lnTo>
                  <a:lnTo>
                    <a:pt x="300" y="735"/>
                  </a:lnTo>
                  <a:lnTo>
                    <a:pt x="305" y="736"/>
                  </a:lnTo>
                  <a:lnTo>
                    <a:pt x="318" y="739"/>
                  </a:lnTo>
                  <a:lnTo>
                    <a:pt x="358" y="661"/>
                  </a:lnTo>
                  <a:lnTo>
                    <a:pt x="363" y="661"/>
                  </a:lnTo>
                  <a:lnTo>
                    <a:pt x="369" y="661"/>
                  </a:lnTo>
                  <a:lnTo>
                    <a:pt x="375" y="661"/>
                  </a:lnTo>
                  <a:lnTo>
                    <a:pt x="380" y="661"/>
                  </a:lnTo>
                  <a:lnTo>
                    <a:pt x="385" y="661"/>
                  </a:lnTo>
                  <a:lnTo>
                    <a:pt x="391" y="661"/>
                  </a:lnTo>
                  <a:lnTo>
                    <a:pt x="397" y="660"/>
                  </a:lnTo>
                  <a:lnTo>
                    <a:pt x="402" y="660"/>
                  </a:lnTo>
                  <a:lnTo>
                    <a:pt x="447" y="734"/>
                  </a:lnTo>
                  <a:lnTo>
                    <a:pt x="459" y="730"/>
                  </a:lnTo>
                  <a:lnTo>
                    <a:pt x="463" y="729"/>
                  </a:lnTo>
                  <a:lnTo>
                    <a:pt x="468" y="728"/>
                  </a:lnTo>
                  <a:lnTo>
                    <a:pt x="473" y="727"/>
                  </a:lnTo>
                  <a:lnTo>
                    <a:pt x="476" y="726"/>
                  </a:lnTo>
                  <a:lnTo>
                    <a:pt x="481" y="724"/>
                  </a:lnTo>
                  <a:lnTo>
                    <a:pt x="487" y="723"/>
                  </a:lnTo>
                  <a:lnTo>
                    <a:pt x="492" y="721"/>
                  </a:lnTo>
                  <a:lnTo>
                    <a:pt x="499" y="719"/>
                  </a:lnTo>
                  <a:lnTo>
                    <a:pt x="511" y="714"/>
                  </a:lnTo>
                  <a:lnTo>
                    <a:pt x="507" y="626"/>
                  </a:lnTo>
                  <a:lnTo>
                    <a:pt x="511" y="623"/>
                  </a:lnTo>
                  <a:lnTo>
                    <a:pt x="516" y="621"/>
                  </a:lnTo>
                  <a:lnTo>
                    <a:pt x="520" y="618"/>
                  </a:lnTo>
                  <a:lnTo>
                    <a:pt x="525" y="615"/>
                  </a:lnTo>
                  <a:lnTo>
                    <a:pt x="529" y="613"/>
                  </a:lnTo>
                  <a:lnTo>
                    <a:pt x="533" y="609"/>
                  </a:lnTo>
                  <a:lnTo>
                    <a:pt x="537" y="607"/>
                  </a:lnTo>
                  <a:lnTo>
                    <a:pt x="541" y="604"/>
                  </a:lnTo>
                  <a:lnTo>
                    <a:pt x="618" y="648"/>
                  </a:lnTo>
                  <a:lnTo>
                    <a:pt x="629" y="638"/>
                  </a:lnTo>
                  <a:lnTo>
                    <a:pt x="636" y="630"/>
                  </a:lnTo>
                  <a:lnTo>
                    <a:pt x="643" y="623"/>
                  </a:lnTo>
                  <a:lnTo>
                    <a:pt x="651" y="615"/>
                  </a:lnTo>
                  <a:lnTo>
                    <a:pt x="657" y="607"/>
                  </a:lnTo>
                  <a:lnTo>
                    <a:pt x="665" y="597"/>
                  </a:lnTo>
                  <a:lnTo>
                    <a:pt x="616" y="520"/>
                  </a:lnTo>
                  <a:lnTo>
                    <a:pt x="620" y="511"/>
                  </a:lnTo>
                  <a:lnTo>
                    <a:pt x="625" y="504"/>
                  </a:lnTo>
                  <a:lnTo>
                    <a:pt x="628" y="496"/>
                  </a:lnTo>
                  <a:lnTo>
                    <a:pt x="632" y="488"/>
                  </a:lnTo>
                  <a:lnTo>
                    <a:pt x="723" y="486"/>
                  </a:lnTo>
                  <a:lnTo>
                    <a:pt x="728" y="473"/>
                  </a:lnTo>
                  <a:lnTo>
                    <a:pt x="731" y="463"/>
                  </a:lnTo>
                  <a:lnTo>
                    <a:pt x="733" y="452"/>
                  </a:lnTo>
                  <a:lnTo>
                    <a:pt x="735" y="442"/>
                  </a:lnTo>
                  <a:lnTo>
                    <a:pt x="737" y="431"/>
                  </a:lnTo>
                  <a:lnTo>
                    <a:pt x="739" y="418"/>
                  </a:lnTo>
                  <a:lnTo>
                    <a:pt x="656" y="375"/>
                  </a:lnTo>
                  <a:lnTo>
                    <a:pt x="656" y="367"/>
                  </a:lnTo>
                  <a:lnTo>
                    <a:pt x="655" y="358"/>
                  </a:lnTo>
                  <a:lnTo>
                    <a:pt x="655" y="351"/>
                  </a:lnTo>
                  <a:lnTo>
                    <a:pt x="654" y="343"/>
                  </a:lnTo>
                  <a:close/>
                </a:path>
              </a:pathLst>
            </a:custGeom>
            <a:solidFill>
              <a:srgbClr val="D3D3D3"/>
            </a:solidFill>
            <a:ln w="9525">
              <a:noFill/>
              <a:round/>
              <a:headEnd/>
              <a:tailEnd/>
            </a:ln>
          </p:spPr>
          <p:txBody>
            <a:bodyPr/>
            <a:lstStyle/>
            <a:p>
              <a:endParaRPr lang="en-US" dirty="0">
                <a:latin typeface="+mj-lt"/>
              </a:endParaRPr>
            </a:p>
          </p:txBody>
        </p:sp>
        <p:sp>
          <p:nvSpPr>
            <p:cNvPr id="33" name="Oval 49">
              <a:extLst>
                <a:ext uri="{FF2B5EF4-FFF2-40B4-BE49-F238E27FC236}">
                  <a16:creationId xmlns:a16="http://schemas.microsoft.com/office/drawing/2014/main" xmlns="" id="{852E5F12-6632-4084-ABAA-A47F9B5414B8}"/>
                </a:ext>
              </a:extLst>
            </p:cNvPr>
            <p:cNvSpPr>
              <a:spLocks noChangeAspect="1" noChangeArrowheads="1"/>
            </p:cNvSpPr>
            <p:nvPr/>
          </p:nvSpPr>
          <p:spPr bwMode="gray">
            <a:xfrm>
              <a:off x="2526" y="2110"/>
              <a:ext cx="618" cy="618"/>
            </a:xfrm>
            <a:prstGeom prst="ellipse">
              <a:avLst/>
            </a:prstGeom>
            <a:solidFill>
              <a:schemeClr val="bg1"/>
            </a:solidFill>
            <a:ln w="9525" algn="ctr">
              <a:noFill/>
              <a:round/>
              <a:headEnd/>
              <a:tailEnd/>
            </a:ln>
          </p:spPr>
          <p:txBody>
            <a:bodyPr wrap="none" lIns="0" tIns="0" rIns="0" bIns="0" anchor="ctr"/>
            <a:lstStyle/>
            <a:p>
              <a:pPr algn="ctr" defTabSz="1042988">
                <a:buSzPct val="90000"/>
              </a:pPr>
              <a:endParaRPr lang="en-US" sz="1000" dirty="0">
                <a:latin typeface="+mj-lt"/>
                <a:cs typeface="Arial" charset="0"/>
              </a:endParaRPr>
            </a:p>
          </p:txBody>
        </p:sp>
      </p:grpSp>
      <p:grpSp>
        <p:nvGrpSpPr>
          <p:cNvPr id="26" name="Group 47">
            <a:extLst>
              <a:ext uri="{FF2B5EF4-FFF2-40B4-BE49-F238E27FC236}">
                <a16:creationId xmlns:a16="http://schemas.microsoft.com/office/drawing/2014/main" xmlns="" id="{A289BD1C-6C14-4A76-91E9-B127D99D5BD3}"/>
              </a:ext>
            </a:extLst>
          </p:cNvPr>
          <p:cNvGrpSpPr>
            <a:grpSpLocks noChangeAspect="1"/>
          </p:cNvGrpSpPr>
          <p:nvPr/>
        </p:nvGrpSpPr>
        <p:grpSpPr bwMode="gray">
          <a:xfrm>
            <a:off x="5921285" y="4187733"/>
            <a:ext cx="863439" cy="863439"/>
            <a:chOff x="2341" y="1925"/>
            <a:chExt cx="987" cy="987"/>
          </a:xfrm>
        </p:grpSpPr>
        <p:sp>
          <p:nvSpPr>
            <p:cNvPr id="28" name="Freeform 48">
              <a:extLst>
                <a:ext uri="{FF2B5EF4-FFF2-40B4-BE49-F238E27FC236}">
                  <a16:creationId xmlns:a16="http://schemas.microsoft.com/office/drawing/2014/main" xmlns="" id="{D36E61F9-2BF0-477A-95EE-CF4D462B1C0F}"/>
                </a:ext>
              </a:extLst>
            </p:cNvPr>
            <p:cNvSpPr>
              <a:spLocks noChangeAspect="1"/>
            </p:cNvSpPr>
            <p:nvPr/>
          </p:nvSpPr>
          <p:spPr bwMode="gray">
            <a:xfrm>
              <a:off x="2341" y="1925"/>
              <a:ext cx="987" cy="987"/>
            </a:xfrm>
            <a:custGeom>
              <a:avLst/>
              <a:gdLst>
                <a:gd name="T0" fmla="*/ 1744 w 739"/>
                <a:gd name="T1" fmla="*/ 669 h 739"/>
                <a:gd name="T2" fmla="*/ 1734 w 739"/>
                <a:gd name="T3" fmla="*/ 637 h 739"/>
                <a:gd name="T4" fmla="*/ 1723 w 739"/>
                <a:gd name="T5" fmla="*/ 597 h 739"/>
                <a:gd name="T6" fmla="*/ 1702 w 739"/>
                <a:gd name="T7" fmla="*/ 541 h 739"/>
                <a:gd name="T8" fmla="*/ 1457 w 739"/>
                <a:gd name="T9" fmla="*/ 521 h 739"/>
                <a:gd name="T10" fmla="*/ 1547 w 739"/>
                <a:gd name="T11" fmla="*/ 292 h 739"/>
                <a:gd name="T12" fmla="*/ 1508 w 739"/>
                <a:gd name="T13" fmla="*/ 254 h 739"/>
                <a:gd name="T14" fmla="*/ 1478 w 739"/>
                <a:gd name="T15" fmla="*/ 224 h 739"/>
                <a:gd name="T16" fmla="*/ 1450 w 739"/>
                <a:gd name="T17" fmla="*/ 198 h 739"/>
                <a:gd name="T18" fmla="*/ 1221 w 739"/>
                <a:gd name="T19" fmla="*/ 291 h 739"/>
                <a:gd name="T20" fmla="*/ 1171 w 739"/>
                <a:gd name="T21" fmla="*/ 267 h 739"/>
                <a:gd name="T22" fmla="*/ 1127 w 739"/>
                <a:gd name="T23" fmla="*/ 28 h 739"/>
                <a:gd name="T24" fmla="*/ 1089 w 739"/>
                <a:gd name="T25" fmla="*/ 16 h 739"/>
                <a:gd name="T26" fmla="*/ 1048 w 739"/>
                <a:gd name="T27" fmla="*/ 7 h 739"/>
                <a:gd name="T28" fmla="*/ 903 w 739"/>
                <a:gd name="T29" fmla="*/ 198 h 739"/>
                <a:gd name="T30" fmla="*/ 873 w 739"/>
                <a:gd name="T31" fmla="*/ 198 h 739"/>
                <a:gd name="T32" fmla="*/ 845 w 739"/>
                <a:gd name="T33" fmla="*/ 198 h 739"/>
                <a:gd name="T34" fmla="*/ 712 w 739"/>
                <a:gd name="T35" fmla="*/ 7 h 739"/>
                <a:gd name="T36" fmla="*/ 653 w 739"/>
                <a:gd name="T37" fmla="*/ 20 h 739"/>
                <a:gd name="T38" fmla="*/ 617 w 739"/>
                <a:gd name="T39" fmla="*/ 31 h 739"/>
                <a:gd name="T40" fmla="*/ 584 w 739"/>
                <a:gd name="T41" fmla="*/ 43 h 739"/>
                <a:gd name="T42" fmla="*/ 546 w 739"/>
                <a:gd name="T43" fmla="*/ 283 h 739"/>
                <a:gd name="T44" fmla="*/ 490 w 739"/>
                <a:gd name="T45" fmla="*/ 314 h 739"/>
                <a:gd name="T46" fmla="*/ 256 w 739"/>
                <a:gd name="T47" fmla="*/ 246 h 739"/>
                <a:gd name="T48" fmla="*/ 206 w 739"/>
                <a:gd name="T49" fmla="*/ 299 h 739"/>
                <a:gd name="T50" fmla="*/ 288 w 739"/>
                <a:gd name="T51" fmla="*/ 526 h 739"/>
                <a:gd name="T52" fmla="*/ 254 w 739"/>
                <a:gd name="T53" fmla="*/ 589 h 739"/>
                <a:gd name="T54" fmla="*/ 21 w 739"/>
                <a:gd name="T55" fmla="*/ 645 h 739"/>
                <a:gd name="T56" fmla="*/ 5 w 739"/>
                <a:gd name="T57" fmla="*/ 717 h 739"/>
                <a:gd name="T58" fmla="*/ 184 w 739"/>
                <a:gd name="T59" fmla="*/ 868 h 739"/>
                <a:gd name="T60" fmla="*/ 186 w 739"/>
                <a:gd name="T61" fmla="*/ 950 h 739"/>
                <a:gd name="T62" fmla="*/ 20 w 739"/>
                <a:gd name="T63" fmla="*/ 1110 h 739"/>
                <a:gd name="T64" fmla="*/ 43 w 739"/>
                <a:gd name="T65" fmla="*/ 1179 h 739"/>
                <a:gd name="T66" fmla="*/ 270 w 739"/>
                <a:gd name="T67" fmla="*/ 1223 h 739"/>
                <a:gd name="T68" fmla="*/ 314 w 739"/>
                <a:gd name="T69" fmla="*/ 1292 h 739"/>
                <a:gd name="T70" fmla="*/ 254 w 739"/>
                <a:gd name="T71" fmla="*/ 1511 h 739"/>
                <a:gd name="T72" fmla="*/ 305 w 739"/>
                <a:gd name="T73" fmla="*/ 1557 h 739"/>
                <a:gd name="T74" fmla="*/ 514 w 739"/>
                <a:gd name="T75" fmla="*/ 1477 h 739"/>
                <a:gd name="T76" fmla="*/ 552 w 739"/>
                <a:gd name="T77" fmla="*/ 1497 h 739"/>
                <a:gd name="T78" fmla="*/ 586 w 739"/>
                <a:gd name="T79" fmla="*/ 1513 h 739"/>
                <a:gd name="T80" fmla="*/ 632 w 739"/>
                <a:gd name="T81" fmla="*/ 1732 h 739"/>
                <a:gd name="T82" fmla="*/ 668 w 739"/>
                <a:gd name="T83" fmla="*/ 1742 h 739"/>
                <a:gd name="T84" fmla="*/ 703 w 739"/>
                <a:gd name="T85" fmla="*/ 1748 h 739"/>
                <a:gd name="T86" fmla="*/ 759 w 739"/>
                <a:gd name="T87" fmla="*/ 1760 h 739"/>
                <a:gd name="T88" fmla="*/ 879 w 739"/>
                <a:gd name="T89" fmla="*/ 1575 h 739"/>
                <a:gd name="T90" fmla="*/ 916 w 739"/>
                <a:gd name="T91" fmla="*/ 1575 h 739"/>
                <a:gd name="T92" fmla="*/ 958 w 739"/>
                <a:gd name="T93" fmla="*/ 1572 h 739"/>
                <a:gd name="T94" fmla="*/ 1102 w 739"/>
                <a:gd name="T95" fmla="*/ 1738 h 739"/>
                <a:gd name="T96" fmla="*/ 1134 w 739"/>
                <a:gd name="T97" fmla="*/ 1731 h 739"/>
                <a:gd name="T98" fmla="*/ 1171 w 739"/>
                <a:gd name="T99" fmla="*/ 1718 h 739"/>
                <a:gd name="T100" fmla="*/ 1207 w 739"/>
                <a:gd name="T101" fmla="*/ 1492 h 739"/>
                <a:gd name="T102" fmla="*/ 1239 w 739"/>
                <a:gd name="T103" fmla="*/ 1472 h 739"/>
                <a:gd name="T104" fmla="*/ 1270 w 739"/>
                <a:gd name="T105" fmla="*/ 1450 h 739"/>
                <a:gd name="T106" fmla="*/ 1472 w 739"/>
                <a:gd name="T107" fmla="*/ 1543 h 739"/>
                <a:gd name="T108" fmla="*/ 1532 w 739"/>
                <a:gd name="T109" fmla="*/ 1484 h 739"/>
                <a:gd name="T110" fmla="*/ 1584 w 739"/>
                <a:gd name="T111" fmla="*/ 1421 h 739"/>
                <a:gd name="T112" fmla="*/ 1489 w 739"/>
                <a:gd name="T113" fmla="*/ 1201 h 739"/>
                <a:gd name="T114" fmla="*/ 1723 w 739"/>
                <a:gd name="T115" fmla="*/ 1158 h 739"/>
                <a:gd name="T116" fmla="*/ 1747 w 739"/>
                <a:gd name="T117" fmla="*/ 1078 h 739"/>
                <a:gd name="T118" fmla="*/ 1760 w 739"/>
                <a:gd name="T119" fmla="*/ 995 h 739"/>
                <a:gd name="T120" fmla="*/ 1561 w 739"/>
                <a:gd name="T121" fmla="*/ 852 h 73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39"/>
                <a:gd name="T184" fmla="*/ 0 h 739"/>
                <a:gd name="T185" fmla="*/ 739 w 739"/>
                <a:gd name="T186" fmla="*/ 739 h 73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39" h="739">
                  <a:moveTo>
                    <a:pt x="654" y="343"/>
                  </a:moveTo>
                  <a:lnTo>
                    <a:pt x="735" y="295"/>
                  </a:lnTo>
                  <a:lnTo>
                    <a:pt x="732" y="281"/>
                  </a:lnTo>
                  <a:lnTo>
                    <a:pt x="731" y="276"/>
                  </a:lnTo>
                  <a:lnTo>
                    <a:pt x="730" y="272"/>
                  </a:lnTo>
                  <a:lnTo>
                    <a:pt x="728" y="267"/>
                  </a:lnTo>
                  <a:lnTo>
                    <a:pt x="727" y="263"/>
                  </a:lnTo>
                  <a:lnTo>
                    <a:pt x="724" y="257"/>
                  </a:lnTo>
                  <a:lnTo>
                    <a:pt x="723" y="251"/>
                  </a:lnTo>
                  <a:lnTo>
                    <a:pt x="721" y="246"/>
                  </a:lnTo>
                  <a:lnTo>
                    <a:pt x="719" y="240"/>
                  </a:lnTo>
                  <a:lnTo>
                    <a:pt x="714" y="227"/>
                  </a:lnTo>
                  <a:lnTo>
                    <a:pt x="619" y="231"/>
                  </a:lnTo>
                  <a:lnTo>
                    <a:pt x="615" y="225"/>
                  </a:lnTo>
                  <a:lnTo>
                    <a:pt x="612" y="219"/>
                  </a:lnTo>
                  <a:lnTo>
                    <a:pt x="608" y="213"/>
                  </a:lnTo>
                  <a:lnTo>
                    <a:pt x="604" y="206"/>
                  </a:lnTo>
                  <a:lnTo>
                    <a:pt x="649" y="123"/>
                  </a:lnTo>
                  <a:lnTo>
                    <a:pt x="640" y="114"/>
                  </a:lnTo>
                  <a:lnTo>
                    <a:pt x="637" y="109"/>
                  </a:lnTo>
                  <a:lnTo>
                    <a:pt x="633" y="106"/>
                  </a:lnTo>
                  <a:lnTo>
                    <a:pt x="629" y="102"/>
                  </a:lnTo>
                  <a:lnTo>
                    <a:pt x="625" y="98"/>
                  </a:lnTo>
                  <a:lnTo>
                    <a:pt x="621" y="94"/>
                  </a:lnTo>
                  <a:lnTo>
                    <a:pt x="617" y="91"/>
                  </a:lnTo>
                  <a:lnTo>
                    <a:pt x="613" y="87"/>
                  </a:lnTo>
                  <a:lnTo>
                    <a:pt x="609" y="83"/>
                  </a:lnTo>
                  <a:lnTo>
                    <a:pt x="598" y="75"/>
                  </a:lnTo>
                  <a:lnTo>
                    <a:pt x="518" y="126"/>
                  </a:lnTo>
                  <a:lnTo>
                    <a:pt x="512" y="122"/>
                  </a:lnTo>
                  <a:lnTo>
                    <a:pt x="506" y="119"/>
                  </a:lnTo>
                  <a:lnTo>
                    <a:pt x="499" y="115"/>
                  </a:lnTo>
                  <a:lnTo>
                    <a:pt x="492" y="112"/>
                  </a:lnTo>
                  <a:lnTo>
                    <a:pt x="490" y="17"/>
                  </a:lnTo>
                  <a:lnTo>
                    <a:pt x="478" y="13"/>
                  </a:lnTo>
                  <a:lnTo>
                    <a:pt x="473" y="12"/>
                  </a:lnTo>
                  <a:lnTo>
                    <a:pt x="467" y="9"/>
                  </a:lnTo>
                  <a:lnTo>
                    <a:pt x="462" y="8"/>
                  </a:lnTo>
                  <a:lnTo>
                    <a:pt x="457" y="7"/>
                  </a:lnTo>
                  <a:lnTo>
                    <a:pt x="452" y="5"/>
                  </a:lnTo>
                  <a:lnTo>
                    <a:pt x="445" y="4"/>
                  </a:lnTo>
                  <a:lnTo>
                    <a:pt x="440" y="3"/>
                  </a:lnTo>
                  <a:lnTo>
                    <a:pt x="435" y="2"/>
                  </a:lnTo>
                  <a:lnTo>
                    <a:pt x="422" y="0"/>
                  </a:lnTo>
                  <a:lnTo>
                    <a:pt x="379" y="83"/>
                  </a:lnTo>
                  <a:lnTo>
                    <a:pt x="375" y="83"/>
                  </a:lnTo>
                  <a:lnTo>
                    <a:pt x="371" y="83"/>
                  </a:lnTo>
                  <a:lnTo>
                    <a:pt x="367" y="83"/>
                  </a:lnTo>
                  <a:lnTo>
                    <a:pt x="363" y="83"/>
                  </a:lnTo>
                  <a:lnTo>
                    <a:pt x="359" y="83"/>
                  </a:lnTo>
                  <a:lnTo>
                    <a:pt x="355" y="83"/>
                  </a:lnTo>
                  <a:lnTo>
                    <a:pt x="351" y="84"/>
                  </a:lnTo>
                  <a:lnTo>
                    <a:pt x="347" y="84"/>
                  </a:lnTo>
                  <a:lnTo>
                    <a:pt x="299" y="3"/>
                  </a:lnTo>
                  <a:lnTo>
                    <a:pt x="285" y="6"/>
                  </a:lnTo>
                  <a:lnTo>
                    <a:pt x="280" y="7"/>
                  </a:lnTo>
                  <a:lnTo>
                    <a:pt x="274" y="8"/>
                  </a:lnTo>
                  <a:lnTo>
                    <a:pt x="269" y="9"/>
                  </a:lnTo>
                  <a:lnTo>
                    <a:pt x="264" y="12"/>
                  </a:lnTo>
                  <a:lnTo>
                    <a:pt x="259" y="13"/>
                  </a:lnTo>
                  <a:lnTo>
                    <a:pt x="254" y="15"/>
                  </a:lnTo>
                  <a:lnTo>
                    <a:pt x="250" y="16"/>
                  </a:lnTo>
                  <a:lnTo>
                    <a:pt x="245" y="18"/>
                  </a:lnTo>
                  <a:lnTo>
                    <a:pt x="232" y="22"/>
                  </a:lnTo>
                  <a:lnTo>
                    <a:pt x="236" y="115"/>
                  </a:lnTo>
                  <a:lnTo>
                    <a:pt x="229" y="119"/>
                  </a:lnTo>
                  <a:lnTo>
                    <a:pt x="221" y="123"/>
                  </a:lnTo>
                  <a:lnTo>
                    <a:pt x="213" y="128"/>
                  </a:lnTo>
                  <a:lnTo>
                    <a:pt x="206" y="132"/>
                  </a:lnTo>
                  <a:lnTo>
                    <a:pt x="125" y="88"/>
                  </a:lnTo>
                  <a:lnTo>
                    <a:pt x="116" y="96"/>
                  </a:lnTo>
                  <a:lnTo>
                    <a:pt x="108" y="103"/>
                  </a:lnTo>
                  <a:lnTo>
                    <a:pt x="100" y="110"/>
                  </a:lnTo>
                  <a:lnTo>
                    <a:pt x="93" y="119"/>
                  </a:lnTo>
                  <a:lnTo>
                    <a:pt x="86" y="126"/>
                  </a:lnTo>
                  <a:lnTo>
                    <a:pt x="77" y="137"/>
                  </a:lnTo>
                  <a:lnTo>
                    <a:pt x="126" y="213"/>
                  </a:lnTo>
                  <a:lnTo>
                    <a:pt x="121" y="221"/>
                  </a:lnTo>
                  <a:lnTo>
                    <a:pt x="116" y="229"/>
                  </a:lnTo>
                  <a:lnTo>
                    <a:pt x="110" y="239"/>
                  </a:lnTo>
                  <a:lnTo>
                    <a:pt x="106" y="247"/>
                  </a:lnTo>
                  <a:lnTo>
                    <a:pt x="17" y="248"/>
                  </a:lnTo>
                  <a:lnTo>
                    <a:pt x="12" y="260"/>
                  </a:lnTo>
                  <a:lnTo>
                    <a:pt x="9" y="271"/>
                  </a:lnTo>
                  <a:lnTo>
                    <a:pt x="7" y="280"/>
                  </a:lnTo>
                  <a:lnTo>
                    <a:pt x="4" y="291"/>
                  </a:lnTo>
                  <a:lnTo>
                    <a:pt x="2" y="301"/>
                  </a:lnTo>
                  <a:lnTo>
                    <a:pt x="0" y="315"/>
                  </a:lnTo>
                  <a:lnTo>
                    <a:pt x="78" y="354"/>
                  </a:lnTo>
                  <a:lnTo>
                    <a:pt x="77" y="365"/>
                  </a:lnTo>
                  <a:lnTo>
                    <a:pt x="77" y="376"/>
                  </a:lnTo>
                  <a:lnTo>
                    <a:pt x="77" y="386"/>
                  </a:lnTo>
                  <a:lnTo>
                    <a:pt x="78" y="398"/>
                  </a:lnTo>
                  <a:lnTo>
                    <a:pt x="3" y="443"/>
                  </a:lnTo>
                  <a:lnTo>
                    <a:pt x="6" y="455"/>
                  </a:lnTo>
                  <a:lnTo>
                    <a:pt x="8" y="466"/>
                  </a:lnTo>
                  <a:lnTo>
                    <a:pt x="11" y="476"/>
                  </a:lnTo>
                  <a:lnTo>
                    <a:pt x="15" y="485"/>
                  </a:lnTo>
                  <a:lnTo>
                    <a:pt x="18" y="495"/>
                  </a:lnTo>
                  <a:lnTo>
                    <a:pt x="22" y="507"/>
                  </a:lnTo>
                  <a:lnTo>
                    <a:pt x="108" y="503"/>
                  </a:lnTo>
                  <a:lnTo>
                    <a:pt x="113" y="514"/>
                  </a:lnTo>
                  <a:lnTo>
                    <a:pt x="120" y="523"/>
                  </a:lnTo>
                  <a:lnTo>
                    <a:pt x="126" y="532"/>
                  </a:lnTo>
                  <a:lnTo>
                    <a:pt x="132" y="542"/>
                  </a:lnTo>
                  <a:lnTo>
                    <a:pt x="89" y="618"/>
                  </a:lnTo>
                  <a:lnTo>
                    <a:pt x="99" y="627"/>
                  </a:lnTo>
                  <a:lnTo>
                    <a:pt x="106" y="634"/>
                  </a:lnTo>
                  <a:lnTo>
                    <a:pt x="113" y="641"/>
                  </a:lnTo>
                  <a:lnTo>
                    <a:pt x="121" y="648"/>
                  </a:lnTo>
                  <a:lnTo>
                    <a:pt x="128" y="654"/>
                  </a:lnTo>
                  <a:lnTo>
                    <a:pt x="138" y="664"/>
                  </a:lnTo>
                  <a:lnTo>
                    <a:pt x="211" y="617"/>
                  </a:lnTo>
                  <a:lnTo>
                    <a:pt x="216" y="620"/>
                  </a:lnTo>
                  <a:lnTo>
                    <a:pt x="221" y="623"/>
                  </a:lnTo>
                  <a:lnTo>
                    <a:pt x="226" y="626"/>
                  </a:lnTo>
                  <a:lnTo>
                    <a:pt x="231" y="628"/>
                  </a:lnTo>
                  <a:lnTo>
                    <a:pt x="235" y="631"/>
                  </a:lnTo>
                  <a:lnTo>
                    <a:pt x="240" y="633"/>
                  </a:lnTo>
                  <a:lnTo>
                    <a:pt x="246" y="635"/>
                  </a:lnTo>
                  <a:lnTo>
                    <a:pt x="251" y="638"/>
                  </a:lnTo>
                  <a:lnTo>
                    <a:pt x="252" y="723"/>
                  </a:lnTo>
                  <a:lnTo>
                    <a:pt x="265" y="727"/>
                  </a:lnTo>
                  <a:lnTo>
                    <a:pt x="271" y="728"/>
                  </a:lnTo>
                  <a:lnTo>
                    <a:pt x="275" y="730"/>
                  </a:lnTo>
                  <a:lnTo>
                    <a:pt x="280" y="731"/>
                  </a:lnTo>
                  <a:lnTo>
                    <a:pt x="285" y="732"/>
                  </a:lnTo>
                  <a:lnTo>
                    <a:pt x="289" y="733"/>
                  </a:lnTo>
                  <a:lnTo>
                    <a:pt x="295" y="734"/>
                  </a:lnTo>
                  <a:lnTo>
                    <a:pt x="300" y="735"/>
                  </a:lnTo>
                  <a:lnTo>
                    <a:pt x="305" y="736"/>
                  </a:lnTo>
                  <a:lnTo>
                    <a:pt x="318" y="739"/>
                  </a:lnTo>
                  <a:lnTo>
                    <a:pt x="358" y="661"/>
                  </a:lnTo>
                  <a:lnTo>
                    <a:pt x="363" y="661"/>
                  </a:lnTo>
                  <a:lnTo>
                    <a:pt x="369" y="661"/>
                  </a:lnTo>
                  <a:lnTo>
                    <a:pt x="375" y="661"/>
                  </a:lnTo>
                  <a:lnTo>
                    <a:pt x="380" y="661"/>
                  </a:lnTo>
                  <a:lnTo>
                    <a:pt x="385" y="661"/>
                  </a:lnTo>
                  <a:lnTo>
                    <a:pt x="391" y="661"/>
                  </a:lnTo>
                  <a:lnTo>
                    <a:pt x="397" y="660"/>
                  </a:lnTo>
                  <a:lnTo>
                    <a:pt x="402" y="660"/>
                  </a:lnTo>
                  <a:lnTo>
                    <a:pt x="447" y="734"/>
                  </a:lnTo>
                  <a:lnTo>
                    <a:pt x="459" y="730"/>
                  </a:lnTo>
                  <a:lnTo>
                    <a:pt x="463" y="729"/>
                  </a:lnTo>
                  <a:lnTo>
                    <a:pt x="468" y="728"/>
                  </a:lnTo>
                  <a:lnTo>
                    <a:pt x="473" y="727"/>
                  </a:lnTo>
                  <a:lnTo>
                    <a:pt x="476" y="726"/>
                  </a:lnTo>
                  <a:lnTo>
                    <a:pt x="481" y="724"/>
                  </a:lnTo>
                  <a:lnTo>
                    <a:pt x="487" y="723"/>
                  </a:lnTo>
                  <a:lnTo>
                    <a:pt x="492" y="721"/>
                  </a:lnTo>
                  <a:lnTo>
                    <a:pt x="499" y="719"/>
                  </a:lnTo>
                  <a:lnTo>
                    <a:pt x="511" y="714"/>
                  </a:lnTo>
                  <a:lnTo>
                    <a:pt x="507" y="626"/>
                  </a:lnTo>
                  <a:lnTo>
                    <a:pt x="511" y="623"/>
                  </a:lnTo>
                  <a:lnTo>
                    <a:pt x="516" y="621"/>
                  </a:lnTo>
                  <a:lnTo>
                    <a:pt x="520" y="618"/>
                  </a:lnTo>
                  <a:lnTo>
                    <a:pt x="525" y="615"/>
                  </a:lnTo>
                  <a:lnTo>
                    <a:pt x="529" y="613"/>
                  </a:lnTo>
                  <a:lnTo>
                    <a:pt x="533" y="609"/>
                  </a:lnTo>
                  <a:lnTo>
                    <a:pt x="537" y="607"/>
                  </a:lnTo>
                  <a:lnTo>
                    <a:pt x="541" y="604"/>
                  </a:lnTo>
                  <a:lnTo>
                    <a:pt x="618" y="648"/>
                  </a:lnTo>
                  <a:lnTo>
                    <a:pt x="629" y="638"/>
                  </a:lnTo>
                  <a:lnTo>
                    <a:pt x="636" y="630"/>
                  </a:lnTo>
                  <a:lnTo>
                    <a:pt x="643" y="623"/>
                  </a:lnTo>
                  <a:lnTo>
                    <a:pt x="651" y="615"/>
                  </a:lnTo>
                  <a:lnTo>
                    <a:pt x="657" y="607"/>
                  </a:lnTo>
                  <a:lnTo>
                    <a:pt x="665" y="597"/>
                  </a:lnTo>
                  <a:lnTo>
                    <a:pt x="616" y="520"/>
                  </a:lnTo>
                  <a:lnTo>
                    <a:pt x="620" y="511"/>
                  </a:lnTo>
                  <a:lnTo>
                    <a:pt x="625" y="504"/>
                  </a:lnTo>
                  <a:lnTo>
                    <a:pt x="628" y="496"/>
                  </a:lnTo>
                  <a:lnTo>
                    <a:pt x="632" y="488"/>
                  </a:lnTo>
                  <a:lnTo>
                    <a:pt x="723" y="486"/>
                  </a:lnTo>
                  <a:lnTo>
                    <a:pt x="728" y="473"/>
                  </a:lnTo>
                  <a:lnTo>
                    <a:pt x="731" y="463"/>
                  </a:lnTo>
                  <a:lnTo>
                    <a:pt x="733" y="452"/>
                  </a:lnTo>
                  <a:lnTo>
                    <a:pt x="735" y="442"/>
                  </a:lnTo>
                  <a:lnTo>
                    <a:pt x="737" y="431"/>
                  </a:lnTo>
                  <a:lnTo>
                    <a:pt x="739" y="418"/>
                  </a:lnTo>
                  <a:lnTo>
                    <a:pt x="656" y="375"/>
                  </a:lnTo>
                  <a:lnTo>
                    <a:pt x="656" y="367"/>
                  </a:lnTo>
                  <a:lnTo>
                    <a:pt x="655" y="358"/>
                  </a:lnTo>
                  <a:lnTo>
                    <a:pt x="655" y="351"/>
                  </a:lnTo>
                  <a:lnTo>
                    <a:pt x="654" y="343"/>
                  </a:lnTo>
                  <a:close/>
                </a:path>
              </a:pathLst>
            </a:custGeom>
            <a:solidFill>
              <a:srgbClr val="D3D3D3"/>
            </a:solidFill>
            <a:ln w="9525">
              <a:solidFill>
                <a:srgbClr val="D3D3D3"/>
              </a:solidFill>
              <a:round/>
              <a:headEnd/>
              <a:tailEnd/>
            </a:ln>
          </p:spPr>
          <p:txBody>
            <a:bodyPr/>
            <a:lstStyle/>
            <a:p>
              <a:endParaRPr lang="en-US" dirty="0">
                <a:latin typeface="+mj-lt"/>
              </a:endParaRPr>
            </a:p>
          </p:txBody>
        </p:sp>
        <p:sp>
          <p:nvSpPr>
            <p:cNvPr id="29" name="Oval 49">
              <a:extLst>
                <a:ext uri="{FF2B5EF4-FFF2-40B4-BE49-F238E27FC236}">
                  <a16:creationId xmlns:a16="http://schemas.microsoft.com/office/drawing/2014/main" xmlns="" id="{851DF779-759D-447C-B7AB-BAFFC769D977}"/>
                </a:ext>
              </a:extLst>
            </p:cNvPr>
            <p:cNvSpPr>
              <a:spLocks noChangeAspect="1" noChangeArrowheads="1"/>
            </p:cNvSpPr>
            <p:nvPr/>
          </p:nvSpPr>
          <p:spPr bwMode="gray">
            <a:xfrm>
              <a:off x="2526" y="2110"/>
              <a:ext cx="618" cy="618"/>
            </a:xfrm>
            <a:prstGeom prst="ellipse">
              <a:avLst/>
            </a:prstGeom>
            <a:solidFill>
              <a:schemeClr val="bg1"/>
            </a:solidFill>
            <a:ln w="9525" algn="ctr">
              <a:solidFill>
                <a:srgbClr val="D3D3D3"/>
              </a:solidFill>
              <a:round/>
              <a:headEnd/>
              <a:tailEnd/>
            </a:ln>
          </p:spPr>
          <p:txBody>
            <a:bodyPr wrap="none" lIns="0" tIns="0" rIns="0" bIns="0" anchor="ctr"/>
            <a:lstStyle/>
            <a:p>
              <a:pPr algn="ctr" defTabSz="1042988">
                <a:buSzPct val="90000"/>
              </a:pPr>
              <a:endParaRPr lang="en-US" sz="1000" dirty="0">
                <a:latin typeface="+mj-lt"/>
                <a:cs typeface="Arial" charset="0"/>
              </a:endParaRPr>
            </a:p>
          </p:txBody>
        </p:sp>
      </p:grpSp>
      <p:cxnSp>
        <p:nvCxnSpPr>
          <p:cNvPr id="20" name="Straight Connector 19">
            <a:extLst>
              <a:ext uri="{FF2B5EF4-FFF2-40B4-BE49-F238E27FC236}">
                <a16:creationId xmlns:a16="http://schemas.microsoft.com/office/drawing/2014/main" xmlns="" id="{B697CF74-A073-4A8C-AA52-03769C9F3D60}"/>
              </a:ext>
            </a:extLst>
          </p:cNvPr>
          <p:cNvCxnSpPr>
            <a:cxnSpLocks/>
          </p:cNvCxnSpPr>
          <p:nvPr/>
        </p:nvCxnSpPr>
        <p:spPr bwMode="gray">
          <a:xfrm>
            <a:off x="5005015" y="1883669"/>
            <a:ext cx="585549" cy="0"/>
          </a:xfrm>
          <a:prstGeom prst="line">
            <a:avLst/>
          </a:prstGeom>
          <a:ln w="19050">
            <a:solidFill>
              <a:srgbClr val="D3D3D3"/>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E0873319-1C9B-48CE-B4E6-4494E14976A6}"/>
              </a:ext>
            </a:extLst>
          </p:cNvPr>
          <p:cNvCxnSpPr>
            <a:cxnSpLocks/>
          </p:cNvCxnSpPr>
          <p:nvPr/>
        </p:nvCxnSpPr>
        <p:spPr bwMode="gray">
          <a:xfrm>
            <a:off x="6623759" y="2724766"/>
            <a:ext cx="585549" cy="0"/>
          </a:xfrm>
          <a:prstGeom prst="line">
            <a:avLst/>
          </a:prstGeom>
          <a:ln w="19050">
            <a:solidFill>
              <a:srgbClr val="D3D3D3"/>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22EAB978-7548-45C2-BCD1-C6EEE8533FF9}"/>
              </a:ext>
            </a:extLst>
          </p:cNvPr>
          <p:cNvCxnSpPr>
            <a:cxnSpLocks/>
          </p:cNvCxnSpPr>
          <p:nvPr/>
        </p:nvCxnSpPr>
        <p:spPr bwMode="gray">
          <a:xfrm>
            <a:off x="4827275" y="3664056"/>
            <a:ext cx="692207" cy="0"/>
          </a:xfrm>
          <a:prstGeom prst="line">
            <a:avLst/>
          </a:prstGeom>
          <a:ln w="19050">
            <a:solidFill>
              <a:srgbClr val="D3D3D3"/>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xmlns="" id="{B8D88F59-6E5C-4E4F-937A-303D649EBA8D}"/>
              </a:ext>
            </a:extLst>
          </p:cNvPr>
          <p:cNvCxnSpPr>
            <a:cxnSpLocks/>
          </p:cNvCxnSpPr>
          <p:nvPr/>
        </p:nvCxnSpPr>
        <p:spPr bwMode="gray">
          <a:xfrm>
            <a:off x="4885261" y="5558742"/>
            <a:ext cx="648828" cy="0"/>
          </a:xfrm>
          <a:prstGeom prst="line">
            <a:avLst/>
          </a:prstGeom>
          <a:ln w="19050">
            <a:solidFill>
              <a:srgbClr val="D3D3D3"/>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xmlns="" id="{B2AACB22-5A1C-4A35-8DD7-EB37606A9884}"/>
              </a:ext>
            </a:extLst>
          </p:cNvPr>
          <p:cNvCxnSpPr>
            <a:cxnSpLocks/>
          </p:cNvCxnSpPr>
          <p:nvPr/>
        </p:nvCxnSpPr>
        <p:spPr bwMode="gray">
          <a:xfrm>
            <a:off x="6623759" y="4610716"/>
            <a:ext cx="585549" cy="0"/>
          </a:xfrm>
          <a:prstGeom prst="line">
            <a:avLst/>
          </a:prstGeom>
          <a:ln w="19050">
            <a:solidFill>
              <a:srgbClr val="D3D3D3"/>
            </a:solidFill>
          </a:ln>
        </p:spPr>
        <p:style>
          <a:lnRef idx="1">
            <a:schemeClr val="accent1"/>
          </a:lnRef>
          <a:fillRef idx="0">
            <a:schemeClr val="accent1"/>
          </a:fillRef>
          <a:effectRef idx="0">
            <a:schemeClr val="accent1"/>
          </a:effectRef>
          <a:fontRef idx="minor">
            <a:schemeClr val="tx1"/>
          </a:fontRef>
        </p:style>
      </p:cxnSp>
      <p:sp>
        <p:nvSpPr>
          <p:cNvPr id="51" name="Text Placeholder 2">
            <a:extLst>
              <a:ext uri="{FF2B5EF4-FFF2-40B4-BE49-F238E27FC236}">
                <a16:creationId xmlns:a16="http://schemas.microsoft.com/office/drawing/2014/main" xmlns="" id="{EF1A20B1-BB9A-4C5B-9FDF-5AF31270FD69}"/>
              </a:ext>
            </a:extLst>
          </p:cNvPr>
          <p:cNvSpPr txBox="1">
            <a:spLocks/>
          </p:cNvSpPr>
          <p:nvPr/>
        </p:nvSpPr>
        <p:spPr bwMode="gray">
          <a:xfrm>
            <a:off x="460888" y="5313013"/>
            <a:ext cx="4202042" cy="486632"/>
          </a:xfrm>
          <a:prstGeom prst="rect">
            <a:avLst/>
          </a:prstGeom>
          <a:noFill/>
          <a:ln w="25400" cap="flat" cmpd="sng" algn="ctr">
            <a:noFill/>
            <a:prstDash val="solid"/>
          </a:ln>
        </p:spPr>
        <p:style>
          <a:lnRef idx="2">
            <a:schemeClr val="dk1"/>
          </a:lnRef>
          <a:fillRef idx="1">
            <a:schemeClr val="lt1"/>
          </a:fillRef>
          <a:effectRef idx="0">
            <a:schemeClr val="dk1"/>
          </a:effectRef>
          <a:fontRef idx="minor">
            <a:schemeClr val="dk1"/>
          </a:fontRef>
        </p:style>
        <p:txBody>
          <a:bodyPr lIns="0" tIns="0" rIns="0" bIns="0" anchor="t"/>
          <a:lstStyle>
            <a:lvl1pPr marL="274306" marR="0" indent="-274306" algn="l" rtl="0" eaLnBrk="1" fontAlgn="base" hangingPunct="1">
              <a:lnSpc>
                <a:spcPct val="100000"/>
              </a:lnSpc>
              <a:spcBef>
                <a:spcPts val="0"/>
              </a:spcBef>
              <a:spcAft>
                <a:spcPts val="1200"/>
              </a:spcAft>
              <a:buClr>
                <a:srgbClr val="00529B"/>
              </a:buClr>
              <a:buSzPct val="90000"/>
              <a:buFont typeface="Wingdings" panose="05000000000000000000" pitchFamily="2" charset="2"/>
              <a:buChar char="§"/>
              <a:defRPr lang="en-US" sz="2800" dirty="0" smtClean="0">
                <a:solidFill>
                  <a:schemeClr val="dk1"/>
                </a:solidFill>
                <a:latin typeface="+mn-lt"/>
                <a:ea typeface="+mn-ea"/>
                <a:cs typeface="+mn-cs"/>
              </a:defRPr>
            </a:lvl1pPr>
            <a:lvl2pPr marL="640080" marR="0" indent="-274320" algn="l" rtl="0" eaLnBrk="1" fontAlgn="base" hangingPunct="1">
              <a:lnSpc>
                <a:spcPct val="100000"/>
              </a:lnSpc>
              <a:spcBef>
                <a:spcPts val="0"/>
              </a:spcBef>
              <a:spcAft>
                <a:spcPts val="1200"/>
              </a:spcAft>
              <a:buClrTx/>
              <a:buSzPct val="90000"/>
              <a:buFont typeface="Arial" panose="020B0604020202020204" pitchFamily="34" charset="0"/>
              <a:buChar char="–"/>
              <a:tabLst/>
              <a:defRPr lang="en-US" sz="2400" dirty="0" smtClean="0">
                <a:solidFill>
                  <a:schemeClr val="dk1"/>
                </a:solidFill>
                <a:latin typeface="+mn-lt"/>
                <a:ea typeface="+mn-ea"/>
                <a:cs typeface="+mn-cs"/>
              </a:defRPr>
            </a:lvl2pPr>
            <a:lvl3pPr marL="91440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dk1"/>
                </a:solidFill>
                <a:latin typeface="+mn-lt"/>
                <a:ea typeface="+mn-ea"/>
                <a:cs typeface="+mn-cs"/>
              </a:defRPr>
            </a:lvl3pPr>
            <a:lvl4pPr marL="1234440" marR="0" indent="-274320" algn="l" rtl="0" eaLnBrk="1" fontAlgn="base" hangingPunct="1">
              <a:lnSpc>
                <a:spcPct val="100000"/>
              </a:lnSpc>
              <a:spcBef>
                <a:spcPts val="0"/>
              </a:spcBef>
              <a:spcAft>
                <a:spcPts val="1200"/>
              </a:spcAft>
              <a:buClrTx/>
              <a:buSzPct val="90000"/>
              <a:buFont typeface="Arial" panose="020B0604020202020204" pitchFamily="34" charset="0"/>
              <a:buChar char="–"/>
              <a:defRPr lang="en-US" sz="2200" baseline="0" dirty="0" smtClean="0">
                <a:solidFill>
                  <a:schemeClr val="dk1"/>
                </a:solidFill>
                <a:latin typeface="+mn-lt"/>
                <a:ea typeface="+mn-ea"/>
                <a:cs typeface="+mn-cs"/>
              </a:defRPr>
            </a:lvl4pPr>
            <a:lvl5pPr marL="150876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dk1"/>
                </a:solidFill>
                <a:latin typeface="+mn-lt"/>
                <a:ea typeface="+mn-ea"/>
                <a:cs typeface="+mn-cs"/>
              </a:defRPr>
            </a:lvl5pPr>
            <a:lvl6pPr marL="1954115"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dk1"/>
                </a:solidFill>
                <a:latin typeface="+mn-lt"/>
                <a:ea typeface="+mn-ea"/>
                <a:cs typeface="+mn-cs"/>
              </a:defRPr>
            </a:lvl6pPr>
            <a:lvl7pPr marL="2411293"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dk1"/>
                </a:solidFill>
                <a:latin typeface="+mn-lt"/>
                <a:ea typeface="+mn-ea"/>
                <a:cs typeface="+mn-cs"/>
              </a:defRPr>
            </a:lvl7pPr>
            <a:lvl8pPr marL="2868471"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dk1"/>
                </a:solidFill>
                <a:latin typeface="+mn-lt"/>
                <a:ea typeface="+mn-ea"/>
                <a:cs typeface="+mn-cs"/>
              </a:defRPr>
            </a:lvl8pPr>
            <a:lvl9pPr marL="3325648"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dk1"/>
                </a:solidFill>
                <a:latin typeface="+mn-lt"/>
                <a:ea typeface="+mn-ea"/>
                <a:cs typeface="+mn-cs"/>
              </a:defRPr>
            </a:lvl9pPr>
          </a:lstStyle>
          <a:p>
            <a:pPr marL="0" indent="0">
              <a:spcAft>
                <a:spcPts val="0"/>
              </a:spcAft>
              <a:buClr>
                <a:schemeClr val="tx2"/>
              </a:buClr>
              <a:buSzPct val="100000"/>
              <a:buNone/>
            </a:pPr>
            <a:r>
              <a:rPr lang="en-US" sz="1400" kern="0" dirty="0">
                <a:solidFill>
                  <a:schemeClr val="tx1"/>
                </a:solidFill>
              </a:rPr>
              <a:t>Defining career paths and progressions to support employee development and mobility</a:t>
            </a:r>
          </a:p>
        </p:txBody>
      </p:sp>
      <p:grpSp>
        <p:nvGrpSpPr>
          <p:cNvPr id="57" name="Group 56">
            <a:extLst>
              <a:ext uri="{FF2B5EF4-FFF2-40B4-BE49-F238E27FC236}">
                <a16:creationId xmlns:a16="http://schemas.microsoft.com/office/drawing/2014/main" xmlns="" id="{A2FA5170-C144-4B38-8B4C-51F84904FBB2}"/>
              </a:ext>
            </a:extLst>
          </p:cNvPr>
          <p:cNvGrpSpPr/>
          <p:nvPr/>
        </p:nvGrpSpPr>
        <p:grpSpPr bwMode="gray">
          <a:xfrm>
            <a:off x="5692470" y="1605726"/>
            <a:ext cx="822580" cy="4106569"/>
            <a:chOff x="449122" y="1218115"/>
            <a:chExt cx="1128752" cy="5635066"/>
          </a:xfrm>
        </p:grpSpPr>
        <p:sp>
          <p:nvSpPr>
            <p:cNvPr id="52" name="Freeform 477">
              <a:extLst>
                <a:ext uri="{FF2B5EF4-FFF2-40B4-BE49-F238E27FC236}">
                  <a16:creationId xmlns:a16="http://schemas.microsoft.com/office/drawing/2014/main" xmlns="" id="{99401ED3-18E4-4698-BB0E-837303569DFD}"/>
                </a:ext>
              </a:extLst>
            </p:cNvPr>
            <p:cNvSpPr>
              <a:spLocks noEditPoints="1"/>
            </p:cNvSpPr>
            <p:nvPr/>
          </p:nvSpPr>
          <p:spPr bwMode="gray">
            <a:xfrm>
              <a:off x="504229" y="1218115"/>
              <a:ext cx="534987" cy="395288"/>
            </a:xfrm>
            <a:custGeom>
              <a:avLst/>
              <a:gdLst>
                <a:gd name="T0" fmla="*/ 305 w 337"/>
                <a:gd name="T1" fmla="*/ 164 h 249"/>
                <a:gd name="T2" fmla="*/ 305 w 337"/>
                <a:gd name="T3" fmla="*/ 114 h 249"/>
                <a:gd name="T4" fmla="*/ 179 w 337"/>
                <a:gd name="T5" fmla="*/ 114 h 249"/>
                <a:gd name="T6" fmla="*/ 179 w 337"/>
                <a:gd name="T7" fmla="*/ 85 h 249"/>
                <a:gd name="T8" fmla="*/ 211 w 337"/>
                <a:gd name="T9" fmla="*/ 85 h 249"/>
                <a:gd name="T10" fmla="*/ 211 w 337"/>
                <a:gd name="T11" fmla="*/ 0 h 249"/>
                <a:gd name="T12" fmla="*/ 126 w 337"/>
                <a:gd name="T13" fmla="*/ 0 h 249"/>
                <a:gd name="T14" fmla="*/ 126 w 337"/>
                <a:gd name="T15" fmla="*/ 85 h 249"/>
                <a:gd name="T16" fmla="*/ 157 w 337"/>
                <a:gd name="T17" fmla="*/ 85 h 249"/>
                <a:gd name="T18" fmla="*/ 157 w 337"/>
                <a:gd name="T19" fmla="*/ 114 h 249"/>
                <a:gd name="T20" fmla="*/ 31 w 337"/>
                <a:gd name="T21" fmla="*/ 114 h 249"/>
                <a:gd name="T22" fmla="*/ 31 w 337"/>
                <a:gd name="T23" fmla="*/ 164 h 249"/>
                <a:gd name="T24" fmla="*/ 0 w 337"/>
                <a:gd name="T25" fmla="*/ 164 h 249"/>
                <a:gd name="T26" fmla="*/ 0 w 337"/>
                <a:gd name="T27" fmla="*/ 249 h 249"/>
                <a:gd name="T28" fmla="*/ 85 w 337"/>
                <a:gd name="T29" fmla="*/ 249 h 249"/>
                <a:gd name="T30" fmla="*/ 85 w 337"/>
                <a:gd name="T31" fmla="*/ 164 h 249"/>
                <a:gd name="T32" fmla="*/ 53 w 337"/>
                <a:gd name="T33" fmla="*/ 164 h 249"/>
                <a:gd name="T34" fmla="*/ 53 w 337"/>
                <a:gd name="T35" fmla="*/ 136 h 249"/>
                <a:gd name="T36" fmla="*/ 157 w 337"/>
                <a:gd name="T37" fmla="*/ 136 h 249"/>
                <a:gd name="T38" fmla="*/ 157 w 337"/>
                <a:gd name="T39" fmla="*/ 164 h 249"/>
                <a:gd name="T40" fmla="*/ 126 w 337"/>
                <a:gd name="T41" fmla="*/ 164 h 249"/>
                <a:gd name="T42" fmla="*/ 126 w 337"/>
                <a:gd name="T43" fmla="*/ 249 h 249"/>
                <a:gd name="T44" fmla="*/ 211 w 337"/>
                <a:gd name="T45" fmla="*/ 249 h 249"/>
                <a:gd name="T46" fmla="*/ 211 w 337"/>
                <a:gd name="T47" fmla="*/ 164 h 249"/>
                <a:gd name="T48" fmla="*/ 179 w 337"/>
                <a:gd name="T49" fmla="*/ 164 h 249"/>
                <a:gd name="T50" fmla="*/ 179 w 337"/>
                <a:gd name="T51" fmla="*/ 136 h 249"/>
                <a:gd name="T52" fmla="*/ 283 w 337"/>
                <a:gd name="T53" fmla="*/ 136 h 249"/>
                <a:gd name="T54" fmla="*/ 283 w 337"/>
                <a:gd name="T55" fmla="*/ 164 h 249"/>
                <a:gd name="T56" fmla="*/ 252 w 337"/>
                <a:gd name="T57" fmla="*/ 164 h 249"/>
                <a:gd name="T58" fmla="*/ 252 w 337"/>
                <a:gd name="T59" fmla="*/ 249 h 249"/>
                <a:gd name="T60" fmla="*/ 337 w 337"/>
                <a:gd name="T61" fmla="*/ 249 h 249"/>
                <a:gd name="T62" fmla="*/ 337 w 337"/>
                <a:gd name="T63" fmla="*/ 164 h 249"/>
                <a:gd name="T64" fmla="*/ 305 w 337"/>
                <a:gd name="T65" fmla="*/ 164 h 249"/>
                <a:gd name="T66" fmla="*/ 148 w 337"/>
                <a:gd name="T67" fmla="*/ 22 h 249"/>
                <a:gd name="T68" fmla="*/ 189 w 337"/>
                <a:gd name="T69" fmla="*/ 22 h 249"/>
                <a:gd name="T70" fmla="*/ 189 w 337"/>
                <a:gd name="T71" fmla="*/ 63 h 249"/>
                <a:gd name="T72" fmla="*/ 148 w 337"/>
                <a:gd name="T73" fmla="*/ 63 h 249"/>
                <a:gd name="T74" fmla="*/ 148 w 337"/>
                <a:gd name="T75" fmla="*/ 22 h 249"/>
                <a:gd name="T76" fmla="*/ 63 w 337"/>
                <a:gd name="T77" fmla="*/ 227 h 249"/>
                <a:gd name="T78" fmla="*/ 22 w 337"/>
                <a:gd name="T79" fmla="*/ 227 h 249"/>
                <a:gd name="T80" fmla="*/ 22 w 337"/>
                <a:gd name="T81" fmla="*/ 186 h 249"/>
                <a:gd name="T82" fmla="*/ 63 w 337"/>
                <a:gd name="T83" fmla="*/ 186 h 249"/>
                <a:gd name="T84" fmla="*/ 63 w 337"/>
                <a:gd name="T85" fmla="*/ 227 h 249"/>
                <a:gd name="T86" fmla="*/ 189 w 337"/>
                <a:gd name="T87" fmla="*/ 227 h 249"/>
                <a:gd name="T88" fmla="*/ 148 w 337"/>
                <a:gd name="T89" fmla="*/ 227 h 249"/>
                <a:gd name="T90" fmla="*/ 148 w 337"/>
                <a:gd name="T91" fmla="*/ 186 h 249"/>
                <a:gd name="T92" fmla="*/ 189 w 337"/>
                <a:gd name="T93" fmla="*/ 186 h 249"/>
                <a:gd name="T94" fmla="*/ 189 w 337"/>
                <a:gd name="T95" fmla="*/ 227 h 249"/>
                <a:gd name="T96" fmla="*/ 315 w 337"/>
                <a:gd name="T97" fmla="*/ 227 h 249"/>
                <a:gd name="T98" fmla="*/ 274 w 337"/>
                <a:gd name="T99" fmla="*/ 227 h 249"/>
                <a:gd name="T100" fmla="*/ 274 w 337"/>
                <a:gd name="T101" fmla="*/ 186 h 249"/>
                <a:gd name="T102" fmla="*/ 315 w 337"/>
                <a:gd name="T103" fmla="*/ 186 h 249"/>
                <a:gd name="T104" fmla="*/ 315 w 337"/>
                <a:gd name="T105" fmla="*/ 22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7" h="249">
                  <a:moveTo>
                    <a:pt x="305" y="164"/>
                  </a:moveTo>
                  <a:lnTo>
                    <a:pt x="305" y="114"/>
                  </a:lnTo>
                  <a:lnTo>
                    <a:pt x="179" y="114"/>
                  </a:lnTo>
                  <a:lnTo>
                    <a:pt x="179" y="85"/>
                  </a:lnTo>
                  <a:lnTo>
                    <a:pt x="211" y="85"/>
                  </a:lnTo>
                  <a:lnTo>
                    <a:pt x="211" y="0"/>
                  </a:lnTo>
                  <a:lnTo>
                    <a:pt x="126" y="0"/>
                  </a:lnTo>
                  <a:lnTo>
                    <a:pt x="126" y="85"/>
                  </a:lnTo>
                  <a:lnTo>
                    <a:pt x="157" y="85"/>
                  </a:lnTo>
                  <a:lnTo>
                    <a:pt x="157" y="114"/>
                  </a:lnTo>
                  <a:lnTo>
                    <a:pt x="31" y="114"/>
                  </a:lnTo>
                  <a:lnTo>
                    <a:pt x="31" y="164"/>
                  </a:lnTo>
                  <a:lnTo>
                    <a:pt x="0" y="164"/>
                  </a:lnTo>
                  <a:lnTo>
                    <a:pt x="0" y="249"/>
                  </a:lnTo>
                  <a:lnTo>
                    <a:pt x="85" y="249"/>
                  </a:lnTo>
                  <a:lnTo>
                    <a:pt x="85" y="164"/>
                  </a:lnTo>
                  <a:lnTo>
                    <a:pt x="53" y="164"/>
                  </a:lnTo>
                  <a:lnTo>
                    <a:pt x="53" y="136"/>
                  </a:lnTo>
                  <a:lnTo>
                    <a:pt x="157" y="136"/>
                  </a:lnTo>
                  <a:lnTo>
                    <a:pt x="157" y="164"/>
                  </a:lnTo>
                  <a:lnTo>
                    <a:pt x="126" y="164"/>
                  </a:lnTo>
                  <a:lnTo>
                    <a:pt x="126" y="249"/>
                  </a:lnTo>
                  <a:lnTo>
                    <a:pt x="211" y="249"/>
                  </a:lnTo>
                  <a:lnTo>
                    <a:pt x="211" y="164"/>
                  </a:lnTo>
                  <a:lnTo>
                    <a:pt x="179" y="164"/>
                  </a:lnTo>
                  <a:lnTo>
                    <a:pt x="179" y="136"/>
                  </a:lnTo>
                  <a:lnTo>
                    <a:pt x="283" y="136"/>
                  </a:lnTo>
                  <a:lnTo>
                    <a:pt x="283" y="164"/>
                  </a:lnTo>
                  <a:lnTo>
                    <a:pt x="252" y="164"/>
                  </a:lnTo>
                  <a:lnTo>
                    <a:pt x="252" y="249"/>
                  </a:lnTo>
                  <a:lnTo>
                    <a:pt x="337" y="249"/>
                  </a:lnTo>
                  <a:lnTo>
                    <a:pt x="337" y="164"/>
                  </a:lnTo>
                  <a:lnTo>
                    <a:pt x="305" y="164"/>
                  </a:lnTo>
                  <a:close/>
                  <a:moveTo>
                    <a:pt x="148" y="22"/>
                  </a:moveTo>
                  <a:lnTo>
                    <a:pt x="189" y="22"/>
                  </a:lnTo>
                  <a:lnTo>
                    <a:pt x="189" y="63"/>
                  </a:lnTo>
                  <a:lnTo>
                    <a:pt x="148" y="63"/>
                  </a:lnTo>
                  <a:lnTo>
                    <a:pt x="148" y="22"/>
                  </a:lnTo>
                  <a:close/>
                  <a:moveTo>
                    <a:pt x="63" y="227"/>
                  </a:moveTo>
                  <a:lnTo>
                    <a:pt x="22" y="227"/>
                  </a:lnTo>
                  <a:lnTo>
                    <a:pt x="22" y="186"/>
                  </a:lnTo>
                  <a:lnTo>
                    <a:pt x="63" y="186"/>
                  </a:lnTo>
                  <a:lnTo>
                    <a:pt x="63" y="227"/>
                  </a:lnTo>
                  <a:close/>
                  <a:moveTo>
                    <a:pt x="189" y="227"/>
                  </a:moveTo>
                  <a:lnTo>
                    <a:pt x="148" y="227"/>
                  </a:lnTo>
                  <a:lnTo>
                    <a:pt x="148" y="186"/>
                  </a:lnTo>
                  <a:lnTo>
                    <a:pt x="189" y="186"/>
                  </a:lnTo>
                  <a:lnTo>
                    <a:pt x="189" y="227"/>
                  </a:lnTo>
                  <a:close/>
                  <a:moveTo>
                    <a:pt x="315" y="227"/>
                  </a:moveTo>
                  <a:lnTo>
                    <a:pt x="274" y="227"/>
                  </a:lnTo>
                  <a:lnTo>
                    <a:pt x="274" y="186"/>
                  </a:lnTo>
                  <a:lnTo>
                    <a:pt x="315" y="186"/>
                  </a:lnTo>
                  <a:lnTo>
                    <a:pt x="315" y="22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3" name="Freeform 415">
              <a:extLst>
                <a:ext uri="{FF2B5EF4-FFF2-40B4-BE49-F238E27FC236}">
                  <a16:creationId xmlns:a16="http://schemas.microsoft.com/office/drawing/2014/main" xmlns="" id="{2B68D742-3BFA-45CC-9BF4-3F08E51DFAA3}"/>
                </a:ext>
              </a:extLst>
            </p:cNvPr>
            <p:cNvSpPr>
              <a:spLocks noEditPoints="1"/>
            </p:cNvSpPr>
            <p:nvPr/>
          </p:nvSpPr>
          <p:spPr bwMode="gray">
            <a:xfrm>
              <a:off x="1071772" y="2631951"/>
              <a:ext cx="506102" cy="288177"/>
            </a:xfrm>
            <a:custGeom>
              <a:avLst/>
              <a:gdLst>
                <a:gd name="T0" fmla="*/ 112 w 224"/>
                <a:gd name="T1" fmla="*/ 16 h 128"/>
                <a:gd name="T2" fmla="*/ 205 w 224"/>
                <a:gd name="T3" fmla="*/ 64 h 128"/>
                <a:gd name="T4" fmla="*/ 112 w 224"/>
                <a:gd name="T5" fmla="*/ 112 h 128"/>
                <a:gd name="T6" fmla="*/ 19 w 224"/>
                <a:gd name="T7" fmla="*/ 64 h 128"/>
                <a:gd name="T8" fmla="*/ 112 w 224"/>
                <a:gd name="T9" fmla="*/ 16 h 128"/>
                <a:gd name="T10" fmla="*/ 112 w 224"/>
                <a:gd name="T11" fmla="*/ 0 h 128"/>
                <a:gd name="T12" fmla="*/ 0 w 224"/>
                <a:gd name="T13" fmla="*/ 64 h 128"/>
                <a:gd name="T14" fmla="*/ 112 w 224"/>
                <a:gd name="T15" fmla="*/ 128 h 128"/>
                <a:gd name="T16" fmla="*/ 224 w 224"/>
                <a:gd name="T17" fmla="*/ 64 h 128"/>
                <a:gd name="T18" fmla="*/ 112 w 224"/>
                <a:gd name="T19" fmla="*/ 0 h 128"/>
                <a:gd name="T20" fmla="*/ 112 w 224"/>
                <a:gd name="T21" fmla="*/ 38 h 128"/>
                <a:gd name="T22" fmla="*/ 138 w 224"/>
                <a:gd name="T23" fmla="*/ 64 h 128"/>
                <a:gd name="T24" fmla="*/ 112 w 224"/>
                <a:gd name="T25" fmla="*/ 90 h 128"/>
                <a:gd name="T26" fmla="*/ 86 w 224"/>
                <a:gd name="T27" fmla="*/ 64 h 128"/>
                <a:gd name="T28" fmla="*/ 112 w 224"/>
                <a:gd name="T29" fmla="*/ 38 h 128"/>
                <a:gd name="T30" fmla="*/ 112 w 224"/>
                <a:gd name="T31" fmla="*/ 22 h 128"/>
                <a:gd name="T32" fmla="*/ 70 w 224"/>
                <a:gd name="T33" fmla="*/ 64 h 128"/>
                <a:gd name="T34" fmla="*/ 112 w 224"/>
                <a:gd name="T35" fmla="*/ 106 h 128"/>
                <a:gd name="T36" fmla="*/ 154 w 224"/>
                <a:gd name="T37" fmla="*/ 64 h 128"/>
                <a:gd name="T38" fmla="*/ 112 w 224"/>
                <a:gd name="T39" fmla="*/ 2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4" h="128">
                  <a:moveTo>
                    <a:pt x="112" y="16"/>
                  </a:moveTo>
                  <a:cubicBezTo>
                    <a:pt x="166" y="16"/>
                    <a:pt x="195" y="49"/>
                    <a:pt x="205" y="64"/>
                  </a:cubicBezTo>
                  <a:cubicBezTo>
                    <a:pt x="195" y="79"/>
                    <a:pt x="166" y="112"/>
                    <a:pt x="112" y="112"/>
                  </a:cubicBezTo>
                  <a:cubicBezTo>
                    <a:pt x="58" y="112"/>
                    <a:pt x="29" y="79"/>
                    <a:pt x="19" y="64"/>
                  </a:cubicBezTo>
                  <a:cubicBezTo>
                    <a:pt x="29" y="49"/>
                    <a:pt x="58" y="16"/>
                    <a:pt x="112" y="16"/>
                  </a:cubicBezTo>
                  <a:moveTo>
                    <a:pt x="112" y="0"/>
                  </a:moveTo>
                  <a:cubicBezTo>
                    <a:pt x="32" y="0"/>
                    <a:pt x="0" y="64"/>
                    <a:pt x="0" y="64"/>
                  </a:cubicBezTo>
                  <a:cubicBezTo>
                    <a:pt x="0" y="64"/>
                    <a:pt x="32" y="128"/>
                    <a:pt x="112" y="128"/>
                  </a:cubicBezTo>
                  <a:cubicBezTo>
                    <a:pt x="192" y="128"/>
                    <a:pt x="224" y="64"/>
                    <a:pt x="224" y="64"/>
                  </a:cubicBezTo>
                  <a:cubicBezTo>
                    <a:pt x="224" y="64"/>
                    <a:pt x="192" y="0"/>
                    <a:pt x="112" y="0"/>
                  </a:cubicBezTo>
                  <a:moveTo>
                    <a:pt x="112" y="38"/>
                  </a:moveTo>
                  <a:cubicBezTo>
                    <a:pt x="126" y="38"/>
                    <a:pt x="138" y="50"/>
                    <a:pt x="138" y="64"/>
                  </a:cubicBezTo>
                  <a:cubicBezTo>
                    <a:pt x="138" y="78"/>
                    <a:pt x="126" y="90"/>
                    <a:pt x="112" y="90"/>
                  </a:cubicBezTo>
                  <a:cubicBezTo>
                    <a:pt x="98" y="90"/>
                    <a:pt x="86" y="78"/>
                    <a:pt x="86" y="64"/>
                  </a:cubicBezTo>
                  <a:cubicBezTo>
                    <a:pt x="86" y="50"/>
                    <a:pt x="98" y="38"/>
                    <a:pt x="112" y="38"/>
                  </a:cubicBezTo>
                  <a:moveTo>
                    <a:pt x="112" y="22"/>
                  </a:moveTo>
                  <a:cubicBezTo>
                    <a:pt x="89" y="22"/>
                    <a:pt x="70" y="41"/>
                    <a:pt x="70" y="64"/>
                  </a:cubicBezTo>
                  <a:cubicBezTo>
                    <a:pt x="70" y="87"/>
                    <a:pt x="89" y="106"/>
                    <a:pt x="112" y="106"/>
                  </a:cubicBezTo>
                  <a:cubicBezTo>
                    <a:pt x="135" y="106"/>
                    <a:pt x="154" y="87"/>
                    <a:pt x="154" y="64"/>
                  </a:cubicBezTo>
                  <a:cubicBezTo>
                    <a:pt x="154" y="41"/>
                    <a:pt x="135" y="22"/>
                    <a:pt x="112" y="22"/>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4" name="Freeform 406">
              <a:extLst>
                <a:ext uri="{FF2B5EF4-FFF2-40B4-BE49-F238E27FC236}">
                  <a16:creationId xmlns:a16="http://schemas.microsoft.com/office/drawing/2014/main" xmlns="" id="{181B5B76-A4CD-40AF-A179-9D1CBAC1C9E6}"/>
                </a:ext>
              </a:extLst>
            </p:cNvPr>
            <p:cNvSpPr>
              <a:spLocks noEditPoints="1"/>
            </p:cNvSpPr>
            <p:nvPr/>
          </p:nvSpPr>
          <p:spPr bwMode="gray">
            <a:xfrm>
              <a:off x="449122" y="3846870"/>
              <a:ext cx="313983" cy="408676"/>
            </a:xfrm>
            <a:custGeom>
              <a:avLst/>
              <a:gdLst>
                <a:gd name="T0" fmla="*/ 176 w 252"/>
                <a:gd name="T1" fmla="*/ 82 h 328"/>
                <a:gd name="T2" fmla="*/ 50 w 252"/>
                <a:gd name="T3" fmla="*/ 82 h 328"/>
                <a:gd name="T4" fmla="*/ 50 w 252"/>
                <a:gd name="T5" fmla="*/ 57 h 328"/>
                <a:gd name="T6" fmla="*/ 176 w 252"/>
                <a:gd name="T7" fmla="*/ 57 h 328"/>
                <a:gd name="T8" fmla="*/ 176 w 252"/>
                <a:gd name="T9" fmla="*/ 82 h 328"/>
                <a:gd name="T10" fmla="*/ 201 w 252"/>
                <a:gd name="T11" fmla="*/ 101 h 328"/>
                <a:gd name="T12" fmla="*/ 50 w 252"/>
                <a:gd name="T13" fmla="*/ 101 h 328"/>
                <a:gd name="T14" fmla="*/ 50 w 252"/>
                <a:gd name="T15" fmla="*/ 126 h 328"/>
                <a:gd name="T16" fmla="*/ 201 w 252"/>
                <a:gd name="T17" fmla="*/ 126 h 328"/>
                <a:gd name="T18" fmla="*/ 201 w 252"/>
                <a:gd name="T19" fmla="*/ 101 h 328"/>
                <a:gd name="T20" fmla="*/ 252 w 252"/>
                <a:gd name="T21" fmla="*/ 0 h 328"/>
                <a:gd name="T22" fmla="*/ 252 w 252"/>
                <a:gd name="T23" fmla="*/ 249 h 328"/>
                <a:gd name="T24" fmla="*/ 173 w 252"/>
                <a:gd name="T25" fmla="*/ 328 h 328"/>
                <a:gd name="T26" fmla="*/ 0 w 252"/>
                <a:gd name="T27" fmla="*/ 328 h 328"/>
                <a:gd name="T28" fmla="*/ 0 w 252"/>
                <a:gd name="T29" fmla="*/ 0 h 328"/>
                <a:gd name="T30" fmla="*/ 252 w 252"/>
                <a:gd name="T31" fmla="*/ 0 h 328"/>
                <a:gd name="T32" fmla="*/ 25 w 252"/>
                <a:gd name="T33" fmla="*/ 303 h 328"/>
                <a:gd name="T34" fmla="*/ 145 w 252"/>
                <a:gd name="T35" fmla="*/ 303 h 328"/>
                <a:gd name="T36" fmla="*/ 145 w 252"/>
                <a:gd name="T37" fmla="*/ 221 h 328"/>
                <a:gd name="T38" fmla="*/ 226 w 252"/>
                <a:gd name="T39" fmla="*/ 221 h 328"/>
                <a:gd name="T40" fmla="*/ 226 w 252"/>
                <a:gd name="T41" fmla="*/ 26 h 328"/>
                <a:gd name="T42" fmla="*/ 25 w 252"/>
                <a:gd name="T43" fmla="*/ 26 h 328"/>
                <a:gd name="T44" fmla="*/ 25 w 252"/>
                <a:gd name="T45" fmla="*/ 303 h 328"/>
                <a:gd name="T46" fmla="*/ 219 w 252"/>
                <a:gd name="T47" fmla="*/ 246 h 328"/>
                <a:gd name="T48" fmla="*/ 170 w 252"/>
                <a:gd name="T49" fmla="*/ 246 h 328"/>
                <a:gd name="T50" fmla="*/ 170 w 252"/>
                <a:gd name="T51" fmla="*/ 295 h 328"/>
                <a:gd name="T52" fmla="*/ 219 w 252"/>
                <a:gd name="T53" fmla="*/ 24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2" h="328">
                  <a:moveTo>
                    <a:pt x="176" y="82"/>
                  </a:moveTo>
                  <a:lnTo>
                    <a:pt x="50" y="82"/>
                  </a:lnTo>
                  <a:lnTo>
                    <a:pt x="50" y="57"/>
                  </a:lnTo>
                  <a:lnTo>
                    <a:pt x="176" y="57"/>
                  </a:lnTo>
                  <a:lnTo>
                    <a:pt x="176" y="82"/>
                  </a:lnTo>
                  <a:close/>
                  <a:moveTo>
                    <a:pt x="201" y="101"/>
                  </a:moveTo>
                  <a:lnTo>
                    <a:pt x="50" y="101"/>
                  </a:lnTo>
                  <a:lnTo>
                    <a:pt x="50" y="126"/>
                  </a:lnTo>
                  <a:lnTo>
                    <a:pt x="201" y="126"/>
                  </a:lnTo>
                  <a:lnTo>
                    <a:pt x="201" y="101"/>
                  </a:lnTo>
                  <a:close/>
                  <a:moveTo>
                    <a:pt x="252" y="0"/>
                  </a:moveTo>
                  <a:lnTo>
                    <a:pt x="252" y="249"/>
                  </a:lnTo>
                  <a:lnTo>
                    <a:pt x="173" y="328"/>
                  </a:lnTo>
                  <a:lnTo>
                    <a:pt x="0" y="328"/>
                  </a:lnTo>
                  <a:lnTo>
                    <a:pt x="0" y="0"/>
                  </a:lnTo>
                  <a:lnTo>
                    <a:pt x="252" y="0"/>
                  </a:lnTo>
                  <a:close/>
                  <a:moveTo>
                    <a:pt x="25" y="303"/>
                  </a:moveTo>
                  <a:lnTo>
                    <a:pt x="145" y="303"/>
                  </a:lnTo>
                  <a:lnTo>
                    <a:pt x="145" y="221"/>
                  </a:lnTo>
                  <a:lnTo>
                    <a:pt x="226" y="221"/>
                  </a:lnTo>
                  <a:lnTo>
                    <a:pt x="226" y="26"/>
                  </a:lnTo>
                  <a:lnTo>
                    <a:pt x="25" y="26"/>
                  </a:lnTo>
                  <a:lnTo>
                    <a:pt x="25" y="303"/>
                  </a:lnTo>
                  <a:close/>
                  <a:moveTo>
                    <a:pt x="219" y="246"/>
                  </a:moveTo>
                  <a:lnTo>
                    <a:pt x="170" y="246"/>
                  </a:lnTo>
                  <a:lnTo>
                    <a:pt x="170" y="295"/>
                  </a:lnTo>
                  <a:lnTo>
                    <a:pt x="219" y="246"/>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5" name="Freeform 485">
              <a:extLst>
                <a:ext uri="{FF2B5EF4-FFF2-40B4-BE49-F238E27FC236}">
                  <a16:creationId xmlns:a16="http://schemas.microsoft.com/office/drawing/2014/main" xmlns="" id="{857DAF0D-057F-49FF-9B5A-D6CBC4213BE3}"/>
                </a:ext>
              </a:extLst>
            </p:cNvPr>
            <p:cNvSpPr>
              <a:spLocks noEditPoints="1"/>
            </p:cNvSpPr>
            <p:nvPr/>
          </p:nvSpPr>
          <p:spPr bwMode="gray">
            <a:xfrm>
              <a:off x="1110679" y="5127613"/>
              <a:ext cx="467195" cy="427945"/>
            </a:xfrm>
            <a:custGeom>
              <a:avLst/>
              <a:gdLst>
                <a:gd name="T0" fmla="*/ 64 w 234"/>
                <a:gd name="T1" fmla="*/ 177 h 215"/>
                <a:gd name="T2" fmla="*/ 37 w 234"/>
                <a:gd name="T3" fmla="*/ 131 h 215"/>
                <a:gd name="T4" fmla="*/ 10 w 234"/>
                <a:gd name="T5" fmla="*/ 177 h 215"/>
                <a:gd name="T6" fmla="*/ 30 w 234"/>
                <a:gd name="T7" fmla="*/ 214 h 215"/>
                <a:gd name="T8" fmla="*/ 109 w 234"/>
                <a:gd name="T9" fmla="*/ 200 h 215"/>
                <a:gd name="T10" fmla="*/ 44 w 234"/>
                <a:gd name="T11" fmla="*/ 157 h 215"/>
                <a:gd name="T12" fmla="*/ 37 w 234"/>
                <a:gd name="T13" fmla="*/ 151 h 215"/>
                <a:gd name="T14" fmla="*/ 28 w 234"/>
                <a:gd name="T15" fmla="*/ 79 h 215"/>
                <a:gd name="T16" fmla="*/ 94 w 234"/>
                <a:gd name="T17" fmla="*/ 115 h 215"/>
                <a:gd name="T18" fmla="*/ 108 w 234"/>
                <a:gd name="T19" fmla="*/ 65 h 215"/>
                <a:gd name="T20" fmla="*/ 98 w 234"/>
                <a:gd name="T21" fmla="*/ 37 h 215"/>
                <a:gd name="T22" fmla="*/ 24 w 234"/>
                <a:gd name="T23" fmla="*/ 37 h 215"/>
                <a:gd name="T24" fmla="*/ 14 w 234"/>
                <a:gd name="T25" fmla="*/ 65 h 215"/>
                <a:gd name="T26" fmla="*/ 28 w 234"/>
                <a:gd name="T27" fmla="*/ 115 h 215"/>
                <a:gd name="T28" fmla="*/ 61 w 234"/>
                <a:gd name="T29" fmla="*/ 14 h 215"/>
                <a:gd name="T30" fmla="*/ 61 w 234"/>
                <a:gd name="T31" fmla="*/ 59 h 215"/>
                <a:gd name="T32" fmla="*/ 61 w 234"/>
                <a:gd name="T33" fmla="*/ 14 h 215"/>
                <a:gd name="T34" fmla="*/ 173 w 234"/>
                <a:gd name="T35" fmla="*/ 100 h 215"/>
                <a:gd name="T36" fmla="*/ 149 w 234"/>
                <a:gd name="T37" fmla="*/ 164 h 215"/>
                <a:gd name="T38" fmla="*/ 126 w 234"/>
                <a:gd name="T39" fmla="*/ 215 h 215"/>
                <a:gd name="T40" fmla="*/ 140 w 234"/>
                <a:gd name="T41" fmla="*/ 178 h 215"/>
                <a:gd name="T42" fmla="*/ 206 w 234"/>
                <a:gd name="T43" fmla="*/ 215 h 215"/>
                <a:gd name="T44" fmla="*/ 220 w 234"/>
                <a:gd name="T45" fmla="*/ 164 h 215"/>
                <a:gd name="T46" fmla="*/ 210 w 234"/>
                <a:gd name="T47" fmla="*/ 136 h 215"/>
                <a:gd name="T48" fmla="*/ 196 w 234"/>
                <a:gd name="T49" fmla="*/ 136 h 215"/>
                <a:gd name="T50" fmla="*/ 150 w 234"/>
                <a:gd name="T51" fmla="*/ 136 h 215"/>
                <a:gd name="T52" fmla="*/ 204 w 234"/>
                <a:gd name="T53" fmla="*/ 61 h 215"/>
                <a:gd name="T54" fmla="*/ 125 w 234"/>
                <a:gd name="T55" fmla="*/ 0 h 215"/>
                <a:gd name="T56" fmla="*/ 190 w 234"/>
                <a:gd name="T57" fmla="*/ 14 h 215"/>
                <a:gd name="T58" fmla="*/ 170 w 234"/>
                <a:gd name="T59" fmla="*/ 41 h 215"/>
                <a:gd name="T60" fmla="*/ 197 w 234"/>
                <a:gd name="T61" fmla="*/ 87 h 215"/>
                <a:gd name="T62" fmla="*/ 224 w 234"/>
                <a:gd name="T63" fmla="*/ 41 h 215"/>
                <a:gd name="T64" fmla="*/ 197 w 234"/>
                <a:gd name="T65" fmla="*/ 67 h 215"/>
                <a:gd name="T66" fmla="*/ 197 w 234"/>
                <a:gd name="T67" fmla="*/ 6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4" h="215">
                  <a:moveTo>
                    <a:pt x="44" y="157"/>
                  </a:moveTo>
                  <a:cubicBezTo>
                    <a:pt x="64" y="177"/>
                    <a:pt x="64" y="177"/>
                    <a:pt x="64" y="177"/>
                  </a:cubicBezTo>
                  <a:cubicBezTo>
                    <a:pt x="74" y="167"/>
                    <a:pt x="74" y="167"/>
                    <a:pt x="74" y="167"/>
                  </a:cubicBezTo>
                  <a:cubicBezTo>
                    <a:pt x="37" y="131"/>
                    <a:pt x="37" y="131"/>
                    <a:pt x="37" y="131"/>
                  </a:cubicBezTo>
                  <a:cubicBezTo>
                    <a:pt x="0" y="167"/>
                    <a:pt x="0" y="167"/>
                    <a:pt x="0" y="167"/>
                  </a:cubicBezTo>
                  <a:cubicBezTo>
                    <a:pt x="10" y="177"/>
                    <a:pt x="10" y="177"/>
                    <a:pt x="10" y="177"/>
                  </a:cubicBezTo>
                  <a:cubicBezTo>
                    <a:pt x="30" y="157"/>
                    <a:pt x="30" y="157"/>
                    <a:pt x="30" y="157"/>
                  </a:cubicBezTo>
                  <a:cubicBezTo>
                    <a:pt x="30" y="214"/>
                    <a:pt x="30" y="214"/>
                    <a:pt x="30" y="214"/>
                  </a:cubicBezTo>
                  <a:cubicBezTo>
                    <a:pt x="109" y="214"/>
                    <a:pt x="109" y="214"/>
                    <a:pt x="109" y="214"/>
                  </a:cubicBezTo>
                  <a:cubicBezTo>
                    <a:pt x="109" y="200"/>
                    <a:pt x="109" y="200"/>
                    <a:pt x="109" y="200"/>
                  </a:cubicBezTo>
                  <a:cubicBezTo>
                    <a:pt x="44" y="200"/>
                    <a:pt x="44" y="200"/>
                    <a:pt x="44" y="200"/>
                  </a:cubicBezTo>
                  <a:lnTo>
                    <a:pt x="44" y="157"/>
                  </a:lnTo>
                  <a:close/>
                  <a:moveTo>
                    <a:pt x="37" y="151"/>
                  </a:moveTo>
                  <a:cubicBezTo>
                    <a:pt x="37" y="151"/>
                    <a:pt x="37" y="151"/>
                    <a:pt x="37" y="151"/>
                  </a:cubicBezTo>
                  <a:cubicBezTo>
                    <a:pt x="37" y="151"/>
                    <a:pt x="37" y="151"/>
                    <a:pt x="37" y="151"/>
                  </a:cubicBezTo>
                  <a:close/>
                  <a:moveTo>
                    <a:pt x="28" y="79"/>
                  </a:moveTo>
                  <a:cubicBezTo>
                    <a:pt x="94" y="79"/>
                    <a:pt x="94" y="79"/>
                    <a:pt x="94" y="79"/>
                  </a:cubicBezTo>
                  <a:cubicBezTo>
                    <a:pt x="94" y="115"/>
                    <a:pt x="94" y="115"/>
                    <a:pt x="94" y="115"/>
                  </a:cubicBezTo>
                  <a:cubicBezTo>
                    <a:pt x="108" y="115"/>
                    <a:pt x="108" y="115"/>
                    <a:pt x="108" y="115"/>
                  </a:cubicBezTo>
                  <a:cubicBezTo>
                    <a:pt x="108" y="65"/>
                    <a:pt x="108" y="65"/>
                    <a:pt x="108" y="65"/>
                  </a:cubicBezTo>
                  <a:cubicBezTo>
                    <a:pt x="85" y="65"/>
                    <a:pt x="85" y="65"/>
                    <a:pt x="85" y="65"/>
                  </a:cubicBezTo>
                  <a:cubicBezTo>
                    <a:pt x="93" y="58"/>
                    <a:pt x="98" y="48"/>
                    <a:pt x="98" y="37"/>
                  </a:cubicBezTo>
                  <a:cubicBezTo>
                    <a:pt x="98" y="16"/>
                    <a:pt x="81" y="0"/>
                    <a:pt x="61" y="0"/>
                  </a:cubicBezTo>
                  <a:cubicBezTo>
                    <a:pt x="41" y="0"/>
                    <a:pt x="24" y="16"/>
                    <a:pt x="24" y="37"/>
                  </a:cubicBezTo>
                  <a:cubicBezTo>
                    <a:pt x="24" y="48"/>
                    <a:pt x="29" y="58"/>
                    <a:pt x="37" y="65"/>
                  </a:cubicBezTo>
                  <a:cubicBezTo>
                    <a:pt x="14" y="65"/>
                    <a:pt x="14" y="65"/>
                    <a:pt x="14" y="65"/>
                  </a:cubicBezTo>
                  <a:cubicBezTo>
                    <a:pt x="14" y="115"/>
                    <a:pt x="14" y="115"/>
                    <a:pt x="14" y="115"/>
                  </a:cubicBezTo>
                  <a:cubicBezTo>
                    <a:pt x="28" y="115"/>
                    <a:pt x="28" y="115"/>
                    <a:pt x="28" y="115"/>
                  </a:cubicBezTo>
                  <a:lnTo>
                    <a:pt x="28" y="79"/>
                  </a:lnTo>
                  <a:close/>
                  <a:moveTo>
                    <a:pt x="61" y="14"/>
                  </a:moveTo>
                  <a:cubicBezTo>
                    <a:pt x="74" y="14"/>
                    <a:pt x="84" y="24"/>
                    <a:pt x="84" y="37"/>
                  </a:cubicBezTo>
                  <a:cubicBezTo>
                    <a:pt x="84" y="49"/>
                    <a:pt x="74" y="59"/>
                    <a:pt x="61" y="59"/>
                  </a:cubicBezTo>
                  <a:cubicBezTo>
                    <a:pt x="48" y="59"/>
                    <a:pt x="38" y="49"/>
                    <a:pt x="38" y="37"/>
                  </a:cubicBezTo>
                  <a:cubicBezTo>
                    <a:pt x="38" y="24"/>
                    <a:pt x="48" y="14"/>
                    <a:pt x="61" y="14"/>
                  </a:cubicBezTo>
                  <a:moveTo>
                    <a:pt x="210" y="136"/>
                  </a:moveTo>
                  <a:cubicBezTo>
                    <a:pt x="210" y="116"/>
                    <a:pt x="193" y="100"/>
                    <a:pt x="173" y="100"/>
                  </a:cubicBezTo>
                  <a:cubicBezTo>
                    <a:pt x="153" y="100"/>
                    <a:pt x="136" y="116"/>
                    <a:pt x="136" y="136"/>
                  </a:cubicBezTo>
                  <a:cubicBezTo>
                    <a:pt x="136" y="148"/>
                    <a:pt x="141" y="158"/>
                    <a:pt x="149" y="164"/>
                  </a:cubicBezTo>
                  <a:cubicBezTo>
                    <a:pt x="126" y="164"/>
                    <a:pt x="126" y="164"/>
                    <a:pt x="126" y="164"/>
                  </a:cubicBezTo>
                  <a:cubicBezTo>
                    <a:pt x="126" y="215"/>
                    <a:pt x="126" y="215"/>
                    <a:pt x="126" y="215"/>
                  </a:cubicBezTo>
                  <a:cubicBezTo>
                    <a:pt x="140" y="215"/>
                    <a:pt x="140" y="215"/>
                    <a:pt x="140" y="215"/>
                  </a:cubicBezTo>
                  <a:cubicBezTo>
                    <a:pt x="140" y="178"/>
                    <a:pt x="140" y="178"/>
                    <a:pt x="140" y="178"/>
                  </a:cubicBezTo>
                  <a:cubicBezTo>
                    <a:pt x="206" y="178"/>
                    <a:pt x="206" y="178"/>
                    <a:pt x="206" y="178"/>
                  </a:cubicBezTo>
                  <a:cubicBezTo>
                    <a:pt x="206" y="215"/>
                    <a:pt x="206" y="215"/>
                    <a:pt x="206" y="215"/>
                  </a:cubicBezTo>
                  <a:cubicBezTo>
                    <a:pt x="220" y="215"/>
                    <a:pt x="220" y="215"/>
                    <a:pt x="220" y="215"/>
                  </a:cubicBezTo>
                  <a:cubicBezTo>
                    <a:pt x="220" y="164"/>
                    <a:pt x="220" y="164"/>
                    <a:pt x="220" y="164"/>
                  </a:cubicBezTo>
                  <a:cubicBezTo>
                    <a:pt x="197" y="164"/>
                    <a:pt x="197" y="164"/>
                    <a:pt x="197" y="164"/>
                  </a:cubicBezTo>
                  <a:cubicBezTo>
                    <a:pt x="205" y="158"/>
                    <a:pt x="210" y="148"/>
                    <a:pt x="210" y="136"/>
                  </a:cubicBezTo>
                  <a:moveTo>
                    <a:pt x="173" y="114"/>
                  </a:moveTo>
                  <a:cubicBezTo>
                    <a:pt x="186" y="114"/>
                    <a:pt x="196" y="124"/>
                    <a:pt x="196" y="136"/>
                  </a:cubicBezTo>
                  <a:cubicBezTo>
                    <a:pt x="196" y="149"/>
                    <a:pt x="186" y="159"/>
                    <a:pt x="173" y="159"/>
                  </a:cubicBezTo>
                  <a:cubicBezTo>
                    <a:pt x="160" y="159"/>
                    <a:pt x="150" y="149"/>
                    <a:pt x="150" y="136"/>
                  </a:cubicBezTo>
                  <a:cubicBezTo>
                    <a:pt x="150" y="124"/>
                    <a:pt x="160" y="114"/>
                    <a:pt x="173" y="114"/>
                  </a:cubicBezTo>
                  <a:moveTo>
                    <a:pt x="204" y="61"/>
                  </a:moveTo>
                  <a:cubicBezTo>
                    <a:pt x="204" y="0"/>
                    <a:pt x="204" y="0"/>
                    <a:pt x="204" y="0"/>
                  </a:cubicBezTo>
                  <a:cubicBezTo>
                    <a:pt x="125" y="0"/>
                    <a:pt x="125" y="0"/>
                    <a:pt x="125" y="0"/>
                  </a:cubicBezTo>
                  <a:cubicBezTo>
                    <a:pt x="125" y="14"/>
                    <a:pt x="125" y="14"/>
                    <a:pt x="125" y="14"/>
                  </a:cubicBezTo>
                  <a:cubicBezTo>
                    <a:pt x="190" y="14"/>
                    <a:pt x="190" y="14"/>
                    <a:pt x="190" y="14"/>
                  </a:cubicBezTo>
                  <a:cubicBezTo>
                    <a:pt x="190" y="61"/>
                    <a:pt x="190" y="61"/>
                    <a:pt x="190" y="61"/>
                  </a:cubicBezTo>
                  <a:cubicBezTo>
                    <a:pt x="170" y="41"/>
                    <a:pt x="170" y="41"/>
                    <a:pt x="170" y="41"/>
                  </a:cubicBezTo>
                  <a:cubicBezTo>
                    <a:pt x="160" y="51"/>
                    <a:pt x="160" y="51"/>
                    <a:pt x="160" y="51"/>
                  </a:cubicBezTo>
                  <a:cubicBezTo>
                    <a:pt x="197" y="87"/>
                    <a:pt x="197" y="87"/>
                    <a:pt x="197" y="87"/>
                  </a:cubicBezTo>
                  <a:cubicBezTo>
                    <a:pt x="234" y="51"/>
                    <a:pt x="234" y="51"/>
                    <a:pt x="234" y="51"/>
                  </a:cubicBezTo>
                  <a:cubicBezTo>
                    <a:pt x="224" y="41"/>
                    <a:pt x="224" y="41"/>
                    <a:pt x="224" y="41"/>
                  </a:cubicBezTo>
                  <a:lnTo>
                    <a:pt x="204" y="61"/>
                  </a:lnTo>
                  <a:close/>
                  <a:moveTo>
                    <a:pt x="197" y="67"/>
                  </a:moveTo>
                  <a:cubicBezTo>
                    <a:pt x="197" y="67"/>
                    <a:pt x="197" y="67"/>
                    <a:pt x="197" y="67"/>
                  </a:cubicBezTo>
                  <a:cubicBezTo>
                    <a:pt x="197" y="67"/>
                    <a:pt x="197" y="67"/>
                    <a:pt x="197" y="6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6" name="Freeform 522">
              <a:extLst>
                <a:ext uri="{FF2B5EF4-FFF2-40B4-BE49-F238E27FC236}">
                  <a16:creationId xmlns:a16="http://schemas.microsoft.com/office/drawing/2014/main" xmlns="" id="{2428709C-A335-43B4-8E4E-AAE1D4148616}"/>
                </a:ext>
              </a:extLst>
            </p:cNvPr>
            <p:cNvSpPr>
              <a:spLocks noEditPoints="1"/>
            </p:cNvSpPr>
            <p:nvPr/>
          </p:nvSpPr>
          <p:spPr bwMode="gray">
            <a:xfrm>
              <a:off x="478431" y="6405635"/>
              <a:ext cx="375995" cy="447546"/>
            </a:xfrm>
            <a:custGeom>
              <a:avLst/>
              <a:gdLst>
                <a:gd name="T0" fmla="*/ 18 w 170"/>
                <a:gd name="T1" fmla="*/ 53 h 203"/>
                <a:gd name="T2" fmla="*/ 33 w 170"/>
                <a:gd name="T3" fmla="*/ 39 h 203"/>
                <a:gd name="T4" fmla="*/ 18 w 170"/>
                <a:gd name="T5" fmla="*/ 25 h 203"/>
                <a:gd name="T6" fmla="*/ 30 w 170"/>
                <a:gd name="T7" fmla="*/ 13 h 203"/>
                <a:gd name="T8" fmla="*/ 44 w 170"/>
                <a:gd name="T9" fmla="*/ 28 h 203"/>
                <a:gd name="T10" fmla="*/ 58 w 170"/>
                <a:gd name="T11" fmla="*/ 13 h 203"/>
                <a:gd name="T12" fmla="*/ 70 w 170"/>
                <a:gd name="T13" fmla="*/ 25 h 203"/>
                <a:gd name="T14" fmla="*/ 55 w 170"/>
                <a:gd name="T15" fmla="*/ 39 h 203"/>
                <a:gd name="T16" fmla="*/ 70 w 170"/>
                <a:gd name="T17" fmla="*/ 53 h 203"/>
                <a:gd name="T18" fmla="*/ 58 w 170"/>
                <a:gd name="T19" fmla="*/ 65 h 203"/>
                <a:gd name="T20" fmla="*/ 44 w 170"/>
                <a:gd name="T21" fmla="*/ 50 h 203"/>
                <a:gd name="T22" fmla="*/ 30 w 170"/>
                <a:gd name="T23" fmla="*/ 65 h 203"/>
                <a:gd name="T24" fmla="*/ 18 w 170"/>
                <a:gd name="T25" fmla="*/ 53 h 203"/>
                <a:gd name="T26" fmla="*/ 170 w 170"/>
                <a:gd name="T27" fmla="*/ 33 h 203"/>
                <a:gd name="T28" fmla="*/ 158 w 170"/>
                <a:gd name="T29" fmla="*/ 45 h 203"/>
                <a:gd name="T30" fmla="*/ 144 w 170"/>
                <a:gd name="T31" fmla="*/ 30 h 203"/>
                <a:gd name="T32" fmla="*/ 144 w 170"/>
                <a:gd name="T33" fmla="*/ 109 h 203"/>
                <a:gd name="T34" fmla="*/ 36 w 170"/>
                <a:gd name="T35" fmla="*/ 109 h 203"/>
                <a:gd name="T36" fmla="*/ 36 w 170"/>
                <a:gd name="T37" fmla="*/ 148 h 203"/>
                <a:gd name="T38" fmla="*/ 56 w 170"/>
                <a:gd name="T39" fmla="*/ 175 h 203"/>
                <a:gd name="T40" fmla="*/ 28 w 170"/>
                <a:gd name="T41" fmla="*/ 203 h 203"/>
                <a:gd name="T42" fmla="*/ 0 w 170"/>
                <a:gd name="T43" fmla="*/ 175 h 203"/>
                <a:gd name="T44" fmla="*/ 20 w 170"/>
                <a:gd name="T45" fmla="*/ 148 h 203"/>
                <a:gd name="T46" fmla="*/ 19 w 170"/>
                <a:gd name="T47" fmla="*/ 93 h 203"/>
                <a:gd name="T48" fmla="*/ 128 w 170"/>
                <a:gd name="T49" fmla="*/ 93 h 203"/>
                <a:gd name="T50" fmla="*/ 128 w 170"/>
                <a:gd name="T51" fmla="*/ 31 h 203"/>
                <a:gd name="T52" fmla="*/ 114 w 170"/>
                <a:gd name="T53" fmla="*/ 45 h 203"/>
                <a:gd name="T54" fmla="*/ 103 w 170"/>
                <a:gd name="T55" fmla="*/ 33 h 203"/>
                <a:gd name="T56" fmla="*/ 136 w 170"/>
                <a:gd name="T57" fmla="*/ 0 h 203"/>
                <a:gd name="T58" fmla="*/ 170 w 170"/>
                <a:gd name="T59" fmla="*/ 33 h 203"/>
                <a:gd name="T60" fmla="*/ 40 w 170"/>
                <a:gd name="T61" fmla="*/ 175 h 203"/>
                <a:gd name="T62" fmla="*/ 28 w 170"/>
                <a:gd name="T63" fmla="*/ 163 h 203"/>
                <a:gd name="T64" fmla="*/ 16 w 170"/>
                <a:gd name="T65" fmla="*/ 175 h 203"/>
                <a:gd name="T66" fmla="*/ 28 w 170"/>
                <a:gd name="T67" fmla="*/ 187 h 203"/>
                <a:gd name="T68" fmla="*/ 40 w 170"/>
                <a:gd name="T69" fmla="*/ 175 h 203"/>
                <a:gd name="T70" fmla="*/ 135 w 170"/>
                <a:gd name="T71" fmla="*/ 141 h 203"/>
                <a:gd name="T72" fmla="*/ 120 w 170"/>
                <a:gd name="T73" fmla="*/ 156 h 203"/>
                <a:gd name="T74" fmla="*/ 106 w 170"/>
                <a:gd name="T75" fmla="*/ 141 h 203"/>
                <a:gd name="T76" fmla="*/ 95 w 170"/>
                <a:gd name="T77" fmla="*/ 153 h 203"/>
                <a:gd name="T78" fmla="*/ 109 w 170"/>
                <a:gd name="T79" fmla="*/ 167 h 203"/>
                <a:gd name="T80" fmla="*/ 95 w 170"/>
                <a:gd name="T81" fmla="*/ 181 h 203"/>
                <a:gd name="T82" fmla="*/ 106 w 170"/>
                <a:gd name="T83" fmla="*/ 193 h 203"/>
                <a:gd name="T84" fmla="*/ 120 w 170"/>
                <a:gd name="T85" fmla="*/ 178 h 203"/>
                <a:gd name="T86" fmla="*/ 135 w 170"/>
                <a:gd name="T87" fmla="*/ 193 h 203"/>
                <a:gd name="T88" fmla="*/ 146 w 170"/>
                <a:gd name="T89" fmla="*/ 181 h 203"/>
                <a:gd name="T90" fmla="*/ 132 w 170"/>
                <a:gd name="T91" fmla="*/ 167 h 203"/>
                <a:gd name="T92" fmla="*/ 146 w 170"/>
                <a:gd name="T93" fmla="*/ 153 h 203"/>
                <a:gd name="T94" fmla="*/ 135 w 170"/>
                <a:gd name="T95" fmla="*/ 14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203">
                  <a:moveTo>
                    <a:pt x="18" y="53"/>
                  </a:moveTo>
                  <a:cubicBezTo>
                    <a:pt x="33" y="39"/>
                    <a:pt x="33" y="39"/>
                    <a:pt x="33" y="39"/>
                  </a:cubicBezTo>
                  <a:cubicBezTo>
                    <a:pt x="18" y="25"/>
                    <a:pt x="18" y="25"/>
                    <a:pt x="18" y="25"/>
                  </a:cubicBezTo>
                  <a:cubicBezTo>
                    <a:pt x="30" y="13"/>
                    <a:pt x="30" y="13"/>
                    <a:pt x="30" y="13"/>
                  </a:cubicBezTo>
                  <a:cubicBezTo>
                    <a:pt x="44" y="28"/>
                    <a:pt x="44" y="28"/>
                    <a:pt x="44" y="28"/>
                  </a:cubicBezTo>
                  <a:cubicBezTo>
                    <a:pt x="58" y="13"/>
                    <a:pt x="58" y="13"/>
                    <a:pt x="58" y="13"/>
                  </a:cubicBezTo>
                  <a:cubicBezTo>
                    <a:pt x="70" y="25"/>
                    <a:pt x="70" y="25"/>
                    <a:pt x="70" y="25"/>
                  </a:cubicBezTo>
                  <a:cubicBezTo>
                    <a:pt x="55" y="39"/>
                    <a:pt x="55" y="39"/>
                    <a:pt x="55" y="39"/>
                  </a:cubicBezTo>
                  <a:cubicBezTo>
                    <a:pt x="70" y="53"/>
                    <a:pt x="70" y="53"/>
                    <a:pt x="70" y="53"/>
                  </a:cubicBezTo>
                  <a:cubicBezTo>
                    <a:pt x="58" y="65"/>
                    <a:pt x="58" y="65"/>
                    <a:pt x="58" y="65"/>
                  </a:cubicBezTo>
                  <a:cubicBezTo>
                    <a:pt x="44" y="50"/>
                    <a:pt x="44" y="50"/>
                    <a:pt x="44" y="50"/>
                  </a:cubicBezTo>
                  <a:cubicBezTo>
                    <a:pt x="30" y="65"/>
                    <a:pt x="30" y="65"/>
                    <a:pt x="30" y="65"/>
                  </a:cubicBezTo>
                  <a:lnTo>
                    <a:pt x="18" y="53"/>
                  </a:lnTo>
                  <a:close/>
                  <a:moveTo>
                    <a:pt x="170" y="33"/>
                  </a:moveTo>
                  <a:cubicBezTo>
                    <a:pt x="158" y="45"/>
                    <a:pt x="158" y="45"/>
                    <a:pt x="158" y="45"/>
                  </a:cubicBezTo>
                  <a:cubicBezTo>
                    <a:pt x="144" y="30"/>
                    <a:pt x="144" y="30"/>
                    <a:pt x="144" y="30"/>
                  </a:cubicBezTo>
                  <a:cubicBezTo>
                    <a:pt x="144" y="109"/>
                    <a:pt x="144" y="109"/>
                    <a:pt x="144" y="109"/>
                  </a:cubicBezTo>
                  <a:cubicBezTo>
                    <a:pt x="36" y="109"/>
                    <a:pt x="36" y="109"/>
                    <a:pt x="36" y="109"/>
                  </a:cubicBezTo>
                  <a:cubicBezTo>
                    <a:pt x="36" y="148"/>
                    <a:pt x="36" y="148"/>
                    <a:pt x="36" y="148"/>
                  </a:cubicBezTo>
                  <a:cubicBezTo>
                    <a:pt x="48" y="152"/>
                    <a:pt x="56" y="162"/>
                    <a:pt x="56" y="175"/>
                  </a:cubicBezTo>
                  <a:cubicBezTo>
                    <a:pt x="56" y="190"/>
                    <a:pt x="43" y="203"/>
                    <a:pt x="28" y="203"/>
                  </a:cubicBezTo>
                  <a:cubicBezTo>
                    <a:pt x="13" y="203"/>
                    <a:pt x="0" y="190"/>
                    <a:pt x="0" y="175"/>
                  </a:cubicBezTo>
                  <a:cubicBezTo>
                    <a:pt x="0" y="162"/>
                    <a:pt x="8" y="152"/>
                    <a:pt x="20" y="148"/>
                  </a:cubicBezTo>
                  <a:cubicBezTo>
                    <a:pt x="19" y="93"/>
                    <a:pt x="19" y="93"/>
                    <a:pt x="19" y="93"/>
                  </a:cubicBezTo>
                  <a:cubicBezTo>
                    <a:pt x="128" y="93"/>
                    <a:pt x="128" y="93"/>
                    <a:pt x="128" y="93"/>
                  </a:cubicBezTo>
                  <a:cubicBezTo>
                    <a:pt x="128" y="31"/>
                    <a:pt x="128" y="31"/>
                    <a:pt x="128" y="31"/>
                  </a:cubicBezTo>
                  <a:cubicBezTo>
                    <a:pt x="114" y="45"/>
                    <a:pt x="114" y="45"/>
                    <a:pt x="114" y="45"/>
                  </a:cubicBezTo>
                  <a:cubicBezTo>
                    <a:pt x="103" y="33"/>
                    <a:pt x="103" y="33"/>
                    <a:pt x="103" y="33"/>
                  </a:cubicBezTo>
                  <a:cubicBezTo>
                    <a:pt x="136" y="0"/>
                    <a:pt x="136" y="0"/>
                    <a:pt x="136" y="0"/>
                  </a:cubicBezTo>
                  <a:lnTo>
                    <a:pt x="170" y="33"/>
                  </a:lnTo>
                  <a:close/>
                  <a:moveTo>
                    <a:pt x="40" y="175"/>
                  </a:moveTo>
                  <a:cubicBezTo>
                    <a:pt x="40" y="168"/>
                    <a:pt x="35" y="163"/>
                    <a:pt x="28" y="163"/>
                  </a:cubicBezTo>
                  <a:cubicBezTo>
                    <a:pt x="21" y="163"/>
                    <a:pt x="16" y="168"/>
                    <a:pt x="16" y="175"/>
                  </a:cubicBezTo>
                  <a:cubicBezTo>
                    <a:pt x="16" y="182"/>
                    <a:pt x="21" y="187"/>
                    <a:pt x="28" y="187"/>
                  </a:cubicBezTo>
                  <a:cubicBezTo>
                    <a:pt x="35" y="187"/>
                    <a:pt x="40" y="182"/>
                    <a:pt x="40" y="175"/>
                  </a:cubicBezTo>
                  <a:moveTo>
                    <a:pt x="135" y="141"/>
                  </a:moveTo>
                  <a:cubicBezTo>
                    <a:pt x="120" y="156"/>
                    <a:pt x="120" y="156"/>
                    <a:pt x="120" y="156"/>
                  </a:cubicBezTo>
                  <a:cubicBezTo>
                    <a:pt x="106" y="141"/>
                    <a:pt x="106" y="141"/>
                    <a:pt x="106" y="141"/>
                  </a:cubicBezTo>
                  <a:cubicBezTo>
                    <a:pt x="95" y="153"/>
                    <a:pt x="95" y="153"/>
                    <a:pt x="95" y="153"/>
                  </a:cubicBezTo>
                  <a:cubicBezTo>
                    <a:pt x="109" y="167"/>
                    <a:pt x="109" y="167"/>
                    <a:pt x="109" y="167"/>
                  </a:cubicBezTo>
                  <a:cubicBezTo>
                    <a:pt x="95" y="181"/>
                    <a:pt x="95" y="181"/>
                    <a:pt x="95" y="181"/>
                  </a:cubicBezTo>
                  <a:cubicBezTo>
                    <a:pt x="106" y="193"/>
                    <a:pt x="106" y="193"/>
                    <a:pt x="106" y="193"/>
                  </a:cubicBezTo>
                  <a:cubicBezTo>
                    <a:pt x="120" y="178"/>
                    <a:pt x="120" y="178"/>
                    <a:pt x="120" y="178"/>
                  </a:cubicBezTo>
                  <a:cubicBezTo>
                    <a:pt x="135" y="193"/>
                    <a:pt x="135" y="193"/>
                    <a:pt x="135" y="193"/>
                  </a:cubicBezTo>
                  <a:cubicBezTo>
                    <a:pt x="146" y="181"/>
                    <a:pt x="146" y="181"/>
                    <a:pt x="146" y="181"/>
                  </a:cubicBezTo>
                  <a:cubicBezTo>
                    <a:pt x="132" y="167"/>
                    <a:pt x="132" y="167"/>
                    <a:pt x="132" y="167"/>
                  </a:cubicBezTo>
                  <a:cubicBezTo>
                    <a:pt x="146" y="153"/>
                    <a:pt x="146" y="153"/>
                    <a:pt x="146" y="153"/>
                  </a:cubicBezTo>
                  <a:lnTo>
                    <a:pt x="135" y="14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137672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F6596B87-A73C-4CF1-8D32-128C8E334809}"/>
              </a:ext>
            </a:extLst>
          </p:cNvPr>
          <p:cNvGraphicFramePr>
            <a:graphicFrameLocks noChangeAspect="1"/>
          </p:cNvGraphicFramePr>
          <p:nvPr>
            <p:custDataLst>
              <p:tags r:id="rId2"/>
            </p:custDataLst>
            <p:extLst>
              <p:ext uri="{D42A27DB-BD31-4B8C-83A1-F6EECF244321}">
                <p14:modId xmlns:p14="http://schemas.microsoft.com/office/powerpoint/2010/main" val="3681683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8"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F6596B87-A73C-4CF1-8D32-128C8E3348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81C88FA6-8764-435E-B5FC-2002AF2C566D}"/>
              </a:ext>
            </a:extLst>
          </p:cNvPr>
          <p:cNvSpPr>
            <a:spLocks noGrp="1"/>
          </p:cNvSpPr>
          <p:nvPr>
            <p:ph type="title"/>
          </p:nvPr>
        </p:nvSpPr>
        <p:spPr bwMode="gray"/>
        <p:txBody>
          <a:bodyPr vert="horz"/>
          <a:lstStyle/>
          <a:p>
            <a:r>
              <a:rPr lang="en-US" dirty="0"/>
              <a:t>Three Layers of an IT Job Architecture </a:t>
            </a:r>
          </a:p>
        </p:txBody>
      </p:sp>
      <p:grpSp>
        <p:nvGrpSpPr>
          <p:cNvPr id="5" name="Group 4">
            <a:extLst>
              <a:ext uri="{FF2B5EF4-FFF2-40B4-BE49-F238E27FC236}">
                <a16:creationId xmlns:a16="http://schemas.microsoft.com/office/drawing/2014/main" xmlns="" id="{783B7229-9DE4-4E5B-AD7E-4DB048B79B8A}"/>
              </a:ext>
            </a:extLst>
          </p:cNvPr>
          <p:cNvGrpSpPr/>
          <p:nvPr/>
        </p:nvGrpSpPr>
        <p:grpSpPr bwMode="gray">
          <a:xfrm>
            <a:off x="457200" y="1346200"/>
            <a:ext cx="10689941" cy="4698360"/>
            <a:chOff x="457200" y="1346200"/>
            <a:chExt cx="10689941" cy="4698360"/>
          </a:xfrm>
        </p:grpSpPr>
        <p:sp>
          <p:nvSpPr>
            <p:cNvPr id="6" name="Rectangle 5">
              <a:extLst>
                <a:ext uri="{FF2B5EF4-FFF2-40B4-BE49-F238E27FC236}">
                  <a16:creationId xmlns:a16="http://schemas.microsoft.com/office/drawing/2014/main" xmlns="" id="{0E614199-2318-4FFB-A887-B469F66F10BC}"/>
                </a:ext>
              </a:extLst>
            </p:cNvPr>
            <p:cNvSpPr/>
            <p:nvPr/>
          </p:nvSpPr>
          <p:spPr bwMode="gray">
            <a:xfrm>
              <a:off x="5545356" y="1590621"/>
              <a:ext cx="5601785" cy="6625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2"/>
                  </a:solidFill>
                </a:rPr>
                <a:t>Job Family</a:t>
              </a:r>
            </a:p>
            <a:p>
              <a:r>
                <a:rPr lang="en-US" sz="1600" dirty="0">
                  <a:solidFill>
                    <a:schemeClr val="tx1"/>
                  </a:solidFill>
                </a:rPr>
                <a:t>A number of related job series that share common characteristics and competencies</a:t>
              </a:r>
            </a:p>
          </p:txBody>
        </p:sp>
        <p:grpSp>
          <p:nvGrpSpPr>
            <p:cNvPr id="7" name="Group 6">
              <a:extLst>
                <a:ext uri="{FF2B5EF4-FFF2-40B4-BE49-F238E27FC236}">
                  <a16:creationId xmlns:a16="http://schemas.microsoft.com/office/drawing/2014/main" xmlns="" id="{16646EC2-2632-42CE-8280-BF82926C54A9}"/>
                </a:ext>
              </a:extLst>
            </p:cNvPr>
            <p:cNvGrpSpPr/>
            <p:nvPr/>
          </p:nvGrpSpPr>
          <p:grpSpPr bwMode="gray">
            <a:xfrm>
              <a:off x="457200" y="1346200"/>
              <a:ext cx="4688929" cy="4698360"/>
              <a:chOff x="457201" y="1416492"/>
              <a:chExt cx="4618778" cy="4628068"/>
            </a:xfrm>
          </p:grpSpPr>
          <p:sp>
            <p:nvSpPr>
              <p:cNvPr id="19" name="Freeform: Shape 18">
                <a:extLst>
                  <a:ext uri="{FF2B5EF4-FFF2-40B4-BE49-F238E27FC236}">
                    <a16:creationId xmlns:a16="http://schemas.microsoft.com/office/drawing/2014/main" xmlns="" id="{A90C0155-8FC8-43FA-9202-98F39AC8D97E}"/>
                  </a:ext>
                </a:extLst>
              </p:cNvPr>
              <p:cNvSpPr/>
              <p:nvPr/>
            </p:nvSpPr>
            <p:spPr bwMode="gray">
              <a:xfrm>
                <a:off x="457201" y="1416492"/>
                <a:ext cx="4618778" cy="4628068"/>
              </a:xfrm>
              <a:custGeom>
                <a:avLst/>
                <a:gdLst>
                  <a:gd name="connsiteX0" fmla="*/ 4617742 w 4618778"/>
                  <a:gd name="connsiteY0" fmla="*/ 4628770 h 4628068"/>
                  <a:gd name="connsiteX1" fmla="*/ 4617742 w 4618778"/>
                  <a:gd name="connsiteY1" fmla="*/ 701 h 4628068"/>
                  <a:gd name="connsiteX2" fmla="*/ -1037 w 4618778"/>
                  <a:gd name="connsiteY2" fmla="*/ 4628770 h 4628068"/>
                </a:gdLst>
                <a:ahLst/>
                <a:cxnLst>
                  <a:cxn ang="0">
                    <a:pos x="connsiteX0" y="connsiteY0"/>
                  </a:cxn>
                  <a:cxn ang="0">
                    <a:pos x="connsiteX1" y="connsiteY1"/>
                  </a:cxn>
                  <a:cxn ang="0">
                    <a:pos x="connsiteX2" y="connsiteY2"/>
                  </a:cxn>
                </a:cxnLst>
                <a:rect l="l" t="t" r="r" b="b"/>
                <a:pathLst>
                  <a:path w="4618778" h="4628068">
                    <a:moveTo>
                      <a:pt x="4617742" y="4628770"/>
                    </a:moveTo>
                    <a:lnTo>
                      <a:pt x="4617742" y="701"/>
                    </a:lnTo>
                    <a:cubicBezTo>
                      <a:pt x="2066871" y="7899"/>
                      <a:pt x="1052" y="2076737"/>
                      <a:pt x="-1037" y="4628770"/>
                    </a:cubicBezTo>
                    <a:close/>
                  </a:path>
                </a:pathLst>
              </a:custGeom>
              <a:solidFill>
                <a:srgbClr val="002856"/>
              </a:solidFill>
              <a:ln w="23214"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xmlns="" id="{523C4928-E0C3-436A-B026-2B4EEA0D96E4}"/>
                  </a:ext>
                </a:extLst>
              </p:cNvPr>
              <p:cNvSpPr/>
              <p:nvPr/>
            </p:nvSpPr>
            <p:spPr bwMode="gray">
              <a:xfrm>
                <a:off x="1740296" y="2699357"/>
                <a:ext cx="3335683" cy="3345202"/>
              </a:xfrm>
              <a:custGeom>
                <a:avLst/>
                <a:gdLst>
                  <a:gd name="connsiteX0" fmla="*/ 3334647 w 3335683"/>
                  <a:gd name="connsiteY0" fmla="*/ 3345904 h 3345202"/>
                  <a:gd name="connsiteX1" fmla="*/ 3334647 w 3335683"/>
                  <a:gd name="connsiteY1" fmla="*/ 701 h 3345202"/>
                  <a:gd name="connsiteX2" fmla="*/ -1037 w 3335683"/>
                  <a:gd name="connsiteY2" fmla="*/ 3345672 h 3345202"/>
                </a:gdLst>
                <a:ahLst/>
                <a:cxnLst>
                  <a:cxn ang="0">
                    <a:pos x="connsiteX0" y="connsiteY0"/>
                  </a:cxn>
                  <a:cxn ang="0">
                    <a:pos x="connsiteX1" y="connsiteY1"/>
                  </a:cxn>
                  <a:cxn ang="0">
                    <a:pos x="connsiteX2" y="connsiteY2"/>
                  </a:cxn>
                </a:cxnLst>
                <a:rect l="l" t="t" r="r" b="b"/>
                <a:pathLst>
                  <a:path w="3335683" h="3345202">
                    <a:moveTo>
                      <a:pt x="3334647" y="3345904"/>
                    </a:moveTo>
                    <a:lnTo>
                      <a:pt x="3334647" y="701"/>
                    </a:lnTo>
                    <a:cubicBezTo>
                      <a:pt x="1491800" y="7983"/>
                      <a:pt x="1123" y="1502812"/>
                      <a:pt x="-1037" y="3345672"/>
                    </a:cubicBezTo>
                    <a:close/>
                  </a:path>
                </a:pathLst>
              </a:custGeom>
              <a:solidFill>
                <a:srgbClr val="009AD7"/>
              </a:solidFill>
              <a:ln w="2321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xmlns="" id="{8BBCB736-DE2F-4278-866A-74E713D169F5}"/>
                  </a:ext>
                </a:extLst>
              </p:cNvPr>
              <p:cNvSpPr/>
              <p:nvPr/>
            </p:nvSpPr>
            <p:spPr bwMode="gray">
              <a:xfrm>
                <a:off x="3129970" y="4089496"/>
                <a:ext cx="1946009" cy="1955064"/>
              </a:xfrm>
              <a:custGeom>
                <a:avLst/>
                <a:gdLst>
                  <a:gd name="connsiteX0" fmla="*/ 1944973 w 1946009"/>
                  <a:gd name="connsiteY0" fmla="*/ 1955766 h 1955064"/>
                  <a:gd name="connsiteX1" fmla="*/ 1944973 w 1946009"/>
                  <a:gd name="connsiteY1" fmla="*/ 701 h 1955064"/>
                  <a:gd name="connsiteX2" fmla="*/ -1037 w 1946009"/>
                  <a:gd name="connsiteY2" fmla="*/ 1955766 h 1955064"/>
                </a:gdLst>
                <a:ahLst/>
                <a:cxnLst>
                  <a:cxn ang="0">
                    <a:pos x="connsiteX0" y="connsiteY0"/>
                  </a:cxn>
                  <a:cxn ang="0">
                    <a:pos x="connsiteX1" y="connsiteY1"/>
                  </a:cxn>
                  <a:cxn ang="0">
                    <a:pos x="connsiteX2" y="connsiteY2"/>
                  </a:cxn>
                </a:cxnLst>
                <a:rect l="l" t="t" r="r" b="b"/>
                <a:pathLst>
                  <a:path w="1946009" h="1955064">
                    <a:moveTo>
                      <a:pt x="1944973" y="1955766"/>
                    </a:moveTo>
                    <a:lnTo>
                      <a:pt x="1944973" y="701"/>
                    </a:lnTo>
                    <a:cubicBezTo>
                      <a:pt x="869661" y="7837"/>
                      <a:pt x="1109" y="880431"/>
                      <a:pt x="-1037" y="1955766"/>
                    </a:cubicBezTo>
                    <a:close/>
                  </a:path>
                </a:pathLst>
              </a:custGeom>
              <a:solidFill>
                <a:srgbClr val="979D9D"/>
              </a:solidFill>
              <a:ln w="2321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xmlns="" id="{BB3E27D6-9737-4F25-8785-0B2684C8D00C}"/>
                  </a:ext>
                </a:extLst>
              </p:cNvPr>
              <p:cNvSpPr/>
              <p:nvPr/>
            </p:nvSpPr>
            <p:spPr bwMode="gray">
              <a:xfrm>
                <a:off x="4237531" y="5196823"/>
                <a:ext cx="838448" cy="847736"/>
              </a:xfrm>
              <a:custGeom>
                <a:avLst/>
                <a:gdLst>
                  <a:gd name="connsiteX0" fmla="*/ 837411 w 838448"/>
                  <a:gd name="connsiteY0" fmla="*/ 848438 h 847736"/>
                  <a:gd name="connsiteX1" fmla="*/ 837411 w 838448"/>
                  <a:gd name="connsiteY1" fmla="*/ 701 h 847736"/>
                  <a:gd name="connsiteX2" fmla="*/ -1037 w 838448"/>
                  <a:gd name="connsiteY2" fmla="*/ 848438 h 847736"/>
                </a:gdLst>
                <a:ahLst/>
                <a:cxnLst>
                  <a:cxn ang="0">
                    <a:pos x="connsiteX0" y="connsiteY0"/>
                  </a:cxn>
                  <a:cxn ang="0">
                    <a:pos x="connsiteX1" y="connsiteY1"/>
                  </a:cxn>
                  <a:cxn ang="0">
                    <a:pos x="connsiteX2" y="connsiteY2"/>
                  </a:cxn>
                </a:cxnLst>
                <a:rect l="l" t="t" r="r" b="b"/>
                <a:pathLst>
                  <a:path w="838448" h="847736">
                    <a:moveTo>
                      <a:pt x="837411" y="848438"/>
                    </a:moveTo>
                    <a:lnTo>
                      <a:pt x="837411" y="701"/>
                    </a:lnTo>
                    <a:cubicBezTo>
                      <a:pt x="373697" y="7780"/>
                      <a:pt x="933" y="384673"/>
                      <a:pt x="-1037" y="848438"/>
                    </a:cubicBezTo>
                    <a:close/>
                  </a:path>
                </a:pathLst>
              </a:custGeom>
              <a:solidFill>
                <a:schemeClr val="bg1"/>
              </a:solidFill>
              <a:ln w="23214" cap="flat">
                <a:noFill/>
                <a:prstDash val="solid"/>
                <a:miter/>
              </a:ln>
            </p:spPr>
            <p:txBody>
              <a:bodyPr rtlCol="0" anchor="ctr"/>
              <a:lstStyle/>
              <a:p>
                <a:endParaRPr lang="en-US" dirty="0"/>
              </a:p>
            </p:txBody>
          </p:sp>
        </p:grpSp>
        <p:sp>
          <p:nvSpPr>
            <p:cNvPr id="8" name="Isosceles Triangle 7">
              <a:extLst>
                <a:ext uri="{FF2B5EF4-FFF2-40B4-BE49-F238E27FC236}">
                  <a16:creationId xmlns:a16="http://schemas.microsoft.com/office/drawing/2014/main" xmlns="" id="{B72F3E1A-08FA-47A5-812C-319E7129F49B}"/>
                </a:ext>
              </a:extLst>
            </p:cNvPr>
            <p:cNvSpPr/>
            <p:nvPr/>
          </p:nvSpPr>
          <p:spPr bwMode="gray">
            <a:xfrm rot="5400000">
              <a:off x="5050275" y="1865122"/>
              <a:ext cx="387335" cy="205401"/>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 name="Isosceles Triangle 8">
              <a:extLst>
                <a:ext uri="{FF2B5EF4-FFF2-40B4-BE49-F238E27FC236}">
                  <a16:creationId xmlns:a16="http://schemas.microsoft.com/office/drawing/2014/main" xmlns="" id="{2B8953F9-EE99-412F-81F4-813B803FF7FF}"/>
                </a:ext>
              </a:extLst>
            </p:cNvPr>
            <p:cNvSpPr/>
            <p:nvPr/>
          </p:nvSpPr>
          <p:spPr bwMode="gray">
            <a:xfrm rot="5400000">
              <a:off x="5050275" y="3326299"/>
              <a:ext cx="387335" cy="205401"/>
            </a:xfrm>
            <a:prstGeom prst="triangle">
              <a:avLst/>
            </a:prstGeom>
            <a:solidFill>
              <a:srgbClr val="0073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0" name="Isosceles Triangle 9">
              <a:extLst>
                <a:ext uri="{FF2B5EF4-FFF2-40B4-BE49-F238E27FC236}">
                  <a16:creationId xmlns:a16="http://schemas.microsoft.com/office/drawing/2014/main" xmlns="" id="{47E8AADC-B115-4FC3-9A03-A526CDEC23A7}"/>
                </a:ext>
              </a:extLst>
            </p:cNvPr>
            <p:cNvSpPr/>
            <p:nvPr/>
          </p:nvSpPr>
          <p:spPr bwMode="gray">
            <a:xfrm rot="5400000">
              <a:off x="5050275" y="4553434"/>
              <a:ext cx="387335" cy="205401"/>
            </a:xfrm>
            <a:prstGeom prst="triangle">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1" name="Graphic 141">
              <a:extLst>
                <a:ext uri="{FF2B5EF4-FFF2-40B4-BE49-F238E27FC236}">
                  <a16:creationId xmlns:a16="http://schemas.microsoft.com/office/drawing/2014/main" xmlns="" id="{975088D4-9179-41C4-9060-C499B4DB4B67}"/>
                </a:ext>
              </a:extLst>
            </p:cNvPr>
            <p:cNvSpPr>
              <a:spLocks noChangeAspect="1"/>
            </p:cNvSpPr>
            <p:nvPr/>
          </p:nvSpPr>
          <p:spPr bwMode="gray">
            <a:xfrm>
              <a:off x="4294946" y="1636780"/>
              <a:ext cx="639214" cy="651506"/>
            </a:xfrm>
            <a:custGeom>
              <a:avLst/>
              <a:gdLst>
                <a:gd name="connsiteX0" fmla="*/ 441389 w 495300"/>
                <a:gd name="connsiteY0" fmla="*/ 297466 h 504825"/>
                <a:gd name="connsiteX1" fmla="*/ 470249 w 495300"/>
                <a:gd name="connsiteY1" fmla="*/ 237268 h 504825"/>
                <a:gd name="connsiteX2" fmla="*/ 392906 w 495300"/>
                <a:gd name="connsiteY2" fmla="*/ 159925 h 504825"/>
                <a:gd name="connsiteX3" fmla="*/ 315563 w 495300"/>
                <a:gd name="connsiteY3" fmla="*/ 237268 h 504825"/>
                <a:gd name="connsiteX4" fmla="*/ 344424 w 495300"/>
                <a:gd name="connsiteY4" fmla="*/ 297466 h 504825"/>
                <a:gd name="connsiteX5" fmla="*/ 311087 w 495300"/>
                <a:gd name="connsiteY5" fmla="*/ 297466 h 504825"/>
                <a:gd name="connsiteX6" fmla="*/ 251269 w 495300"/>
                <a:gd name="connsiteY6" fmla="*/ 269177 h 504825"/>
                <a:gd name="connsiteX7" fmla="*/ 191548 w 495300"/>
                <a:gd name="connsiteY7" fmla="*/ 297466 h 504825"/>
                <a:gd name="connsiteX8" fmla="*/ 158210 w 495300"/>
                <a:gd name="connsiteY8" fmla="*/ 297466 h 504825"/>
                <a:gd name="connsiteX9" fmla="*/ 187071 w 495300"/>
                <a:gd name="connsiteY9" fmla="*/ 237268 h 504825"/>
                <a:gd name="connsiteX10" fmla="*/ 109728 w 495300"/>
                <a:gd name="connsiteY10" fmla="*/ 159925 h 504825"/>
                <a:gd name="connsiteX11" fmla="*/ 32385 w 495300"/>
                <a:gd name="connsiteY11" fmla="*/ 237363 h 504825"/>
                <a:gd name="connsiteX12" fmla="*/ 61246 w 495300"/>
                <a:gd name="connsiteY12" fmla="*/ 297561 h 504825"/>
                <a:gd name="connsiteX13" fmla="*/ 0 w 495300"/>
                <a:gd name="connsiteY13" fmla="*/ 297561 h 504825"/>
                <a:gd name="connsiteX14" fmla="*/ 0 w 495300"/>
                <a:gd name="connsiteY14" fmla="*/ 447675 h 504825"/>
                <a:gd name="connsiteX15" fmla="*/ 33338 w 495300"/>
                <a:gd name="connsiteY15" fmla="*/ 447675 h 504825"/>
                <a:gd name="connsiteX16" fmla="*/ 33338 w 495300"/>
                <a:gd name="connsiteY16" fmla="*/ 330803 h 504825"/>
                <a:gd name="connsiteX17" fmla="*/ 175546 w 495300"/>
                <a:gd name="connsiteY17" fmla="*/ 330803 h 504825"/>
                <a:gd name="connsiteX18" fmla="*/ 173927 w 495300"/>
                <a:gd name="connsiteY18" fmla="*/ 346520 h 504825"/>
                <a:gd name="connsiteX19" fmla="*/ 202787 w 495300"/>
                <a:gd name="connsiteY19" fmla="*/ 406718 h 504825"/>
                <a:gd name="connsiteX20" fmla="*/ 145542 w 495300"/>
                <a:gd name="connsiteY20" fmla="*/ 406718 h 504825"/>
                <a:gd name="connsiteX21" fmla="*/ 145542 w 495300"/>
                <a:gd name="connsiteY21" fmla="*/ 512350 h 504825"/>
                <a:gd name="connsiteX22" fmla="*/ 178880 w 495300"/>
                <a:gd name="connsiteY22" fmla="*/ 512350 h 504825"/>
                <a:gd name="connsiteX23" fmla="*/ 178880 w 495300"/>
                <a:gd name="connsiteY23" fmla="*/ 440055 h 504825"/>
                <a:gd name="connsiteX24" fmla="*/ 323564 w 495300"/>
                <a:gd name="connsiteY24" fmla="*/ 440055 h 504825"/>
                <a:gd name="connsiteX25" fmla="*/ 323564 w 495300"/>
                <a:gd name="connsiteY25" fmla="*/ 512350 h 504825"/>
                <a:gd name="connsiteX26" fmla="*/ 356902 w 495300"/>
                <a:gd name="connsiteY26" fmla="*/ 512350 h 504825"/>
                <a:gd name="connsiteX27" fmla="*/ 356902 w 495300"/>
                <a:gd name="connsiteY27" fmla="*/ 406718 h 504825"/>
                <a:gd name="connsiteX28" fmla="*/ 299657 w 495300"/>
                <a:gd name="connsiteY28" fmla="*/ 406718 h 504825"/>
                <a:gd name="connsiteX29" fmla="*/ 328517 w 495300"/>
                <a:gd name="connsiteY29" fmla="*/ 346520 h 504825"/>
                <a:gd name="connsiteX30" fmla="*/ 326898 w 495300"/>
                <a:gd name="connsiteY30" fmla="*/ 330803 h 504825"/>
                <a:gd name="connsiteX31" fmla="*/ 469106 w 495300"/>
                <a:gd name="connsiteY31" fmla="*/ 330803 h 504825"/>
                <a:gd name="connsiteX32" fmla="*/ 469106 w 495300"/>
                <a:gd name="connsiteY32" fmla="*/ 447675 h 504825"/>
                <a:gd name="connsiteX33" fmla="*/ 502444 w 495300"/>
                <a:gd name="connsiteY33" fmla="*/ 447675 h 504825"/>
                <a:gd name="connsiteX34" fmla="*/ 502444 w 495300"/>
                <a:gd name="connsiteY34" fmla="*/ 297466 h 504825"/>
                <a:gd name="connsiteX35" fmla="*/ 441389 w 495300"/>
                <a:gd name="connsiteY35" fmla="*/ 297466 h 504825"/>
                <a:gd name="connsiteX36" fmla="*/ 392906 w 495300"/>
                <a:gd name="connsiteY36" fmla="*/ 193358 h 504825"/>
                <a:gd name="connsiteX37" fmla="*/ 436912 w 495300"/>
                <a:gd name="connsiteY37" fmla="*/ 237363 h 504825"/>
                <a:gd name="connsiteX38" fmla="*/ 392906 w 495300"/>
                <a:gd name="connsiteY38" fmla="*/ 281369 h 504825"/>
                <a:gd name="connsiteX39" fmla="*/ 348901 w 495300"/>
                <a:gd name="connsiteY39" fmla="*/ 237363 h 504825"/>
                <a:gd name="connsiteX40" fmla="*/ 392906 w 495300"/>
                <a:gd name="connsiteY40" fmla="*/ 193358 h 504825"/>
                <a:gd name="connsiteX41" fmla="*/ 109728 w 495300"/>
                <a:gd name="connsiteY41" fmla="*/ 193358 h 504825"/>
                <a:gd name="connsiteX42" fmla="*/ 153734 w 495300"/>
                <a:gd name="connsiteY42" fmla="*/ 237363 h 504825"/>
                <a:gd name="connsiteX43" fmla="*/ 109728 w 495300"/>
                <a:gd name="connsiteY43" fmla="*/ 281369 h 504825"/>
                <a:gd name="connsiteX44" fmla="*/ 65723 w 495300"/>
                <a:gd name="connsiteY44" fmla="*/ 237363 h 504825"/>
                <a:gd name="connsiteX45" fmla="*/ 109728 w 495300"/>
                <a:gd name="connsiteY45" fmla="*/ 193358 h 504825"/>
                <a:gd name="connsiteX46" fmla="*/ 251269 w 495300"/>
                <a:gd name="connsiteY46" fmla="*/ 302514 h 504825"/>
                <a:gd name="connsiteX47" fmla="*/ 295275 w 495300"/>
                <a:gd name="connsiteY47" fmla="*/ 346520 h 504825"/>
                <a:gd name="connsiteX48" fmla="*/ 251269 w 495300"/>
                <a:gd name="connsiteY48" fmla="*/ 390525 h 504825"/>
                <a:gd name="connsiteX49" fmla="*/ 207264 w 495300"/>
                <a:gd name="connsiteY49" fmla="*/ 346520 h 504825"/>
                <a:gd name="connsiteX50" fmla="*/ 251269 w 495300"/>
                <a:gd name="connsiteY50" fmla="*/ 302514 h 504825"/>
                <a:gd name="connsiteX51" fmla="*/ 267938 w 495300"/>
                <a:gd name="connsiteY51" fmla="*/ 93631 h 504825"/>
                <a:gd name="connsiteX52" fmla="*/ 234601 w 495300"/>
                <a:gd name="connsiteY52" fmla="*/ 93631 h 504825"/>
                <a:gd name="connsiteX53" fmla="*/ 234601 w 495300"/>
                <a:gd name="connsiteY53" fmla="*/ 0 h 504825"/>
                <a:gd name="connsiteX54" fmla="*/ 267938 w 495300"/>
                <a:gd name="connsiteY54" fmla="*/ 0 h 504825"/>
                <a:gd name="connsiteX55" fmla="*/ 267938 w 495300"/>
                <a:gd name="connsiteY55" fmla="*/ 93631 h 504825"/>
                <a:gd name="connsiteX56" fmla="*/ 152305 w 495300"/>
                <a:gd name="connsiteY56" fmla="*/ 125349 h 504825"/>
                <a:gd name="connsiteX57" fmla="*/ 112014 w 495300"/>
                <a:gd name="connsiteY57" fmla="*/ 40862 h 504825"/>
                <a:gd name="connsiteX58" fmla="*/ 142113 w 495300"/>
                <a:gd name="connsiteY58" fmla="*/ 26480 h 504825"/>
                <a:gd name="connsiteX59" fmla="*/ 182404 w 495300"/>
                <a:gd name="connsiteY59" fmla="*/ 110966 h 504825"/>
                <a:gd name="connsiteX60" fmla="*/ 152305 w 495300"/>
                <a:gd name="connsiteY60" fmla="*/ 125349 h 504825"/>
                <a:gd name="connsiteX61" fmla="*/ 350234 w 495300"/>
                <a:gd name="connsiteY61" fmla="*/ 125349 h 504825"/>
                <a:gd name="connsiteX62" fmla="*/ 320135 w 495300"/>
                <a:gd name="connsiteY62" fmla="*/ 110966 h 504825"/>
                <a:gd name="connsiteX63" fmla="*/ 360331 w 495300"/>
                <a:gd name="connsiteY63" fmla="*/ 26480 h 504825"/>
                <a:gd name="connsiteX64" fmla="*/ 390525 w 495300"/>
                <a:gd name="connsiteY64" fmla="*/ 40862 h 504825"/>
                <a:gd name="connsiteX65" fmla="*/ 350234 w 495300"/>
                <a:gd name="connsiteY65" fmla="*/ 125349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95300" h="504825">
                  <a:moveTo>
                    <a:pt x="441389" y="297466"/>
                  </a:moveTo>
                  <a:cubicBezTo>
                    <a:pt x="459010" y="283274"/>
                    <a:pt x="470249" y="261556"/>
                    <a:pt x="470249" y="237268"/>
                  </a:cubicBezTo>
                  <a:cubicBezTo>
                    <a:pt x="470249" y="194596"/>
                    <a:pt x="435578" y="159925"/>
                    <a:pt x="392906" y="159925"/>
                  </a:cubicBezTo>
                  <a:cubicBezTo>
                    <a:pt x="350234" y="159925"/>
                    <a:pt x="315563" y="194596"/>
                    <a:pt x="315563" y="237268"/>
                  </a:cubicBezTo>
                  <a:cubicBezTo>
                    <a:pt x="315563" y="261556"/>
                    <a:pt x="326898" y="283274"/>
                    <a:pt x="344424" y="297466"/>
                  </a:cubicBezTo>
                  <a:lnTo>
                    <a:pt x="311087" y="297466"/>
                  </a:lnTo>
                  <a:cubicBezTo>
                    <a:pt x="296894" y="280226"/>
                    <a:pt x="275368" y="269177"/>
                    <a:pt x="251269" y="269177"/>
                  </a:cubicBezTo>
                  <a:cubicBezTo>
                    <a:pt x="227171" y="269177"/>
                    <a:pt x="205740" y="280226"/>
                    <a:pt x="191548" y="297466"/>
                  </a:cubicBezTo>
                  <a:lnTo>
                    <a:pt x="158210" y="297466"/>
                  </a:lnTo>
                  <a:cubicBezTo>
                    <a:pt x="175831" y="283274"/>
                    <a:pt x="187071" y="261556"/>
                    <a:pt x="187071" y="237268"/>
                  </a:cubicBezTo>
                  <a:cubicBezTo>
                    <a:pt x="187071" y="194596"/>
                    <a:pt x="152400" y="159925"/>
                    <a:pt x="109728" y="159925"/>
                  </a:cubicBezTo>
                  <a:cubicBezTo>
                    <a:pt x="67056" y="159925"/>
                    <a:pt x="32385" y="194691"/>
                    <a:pt x="32385" y="237363"/>
                  </a:cubicBezTo>
                  <a:cubicBezTo>
                    <a:pt x="32385" y="261652"/>
                    <a:pt x="43625" y="283369"/>
                    <a:pt x="61246" y="297561"/>
                  </a:cubicBezTo>
                  <a:lnTo>
                    <a:pt x="0" y="297561"/>
                  </a:lnTo>
                  <a:lnTo>
                    <a:pt x="0" y="447675"/>
                  </a:lnTo>
                  <a:lnTo>
                    <a:pt x="33338" y="447675"/>
                  </a:lnTo>
                  <a:lnTo>
                    <a:pt x="33338" y="330803"/>
                  </a:lnTo>
                  <a:lnTo>
                    <a:pt x="175546" y="330803"/>
                  </a:lnTo>
                  <a:cubicBezTo>
                    <a:pt x="174498" y="335851"/>
                    <a:pt x="173927" y="341090"/>
                    <a:pt x="173927" y="346520"/>
                  </a:cubicBezTo>
                  <a:cubicBezTo>
                    <a:pt x="173927" y="370808"/>
                    <a:pt x="185166" y="392525"/>
                    <a:pt x="202787" y="406718"/>
                  </a:cubicBezTo>
                  <a:lnTo>
                    <a:pt x="145542" y="406718"/>
                  </a:lnTo>
                  <a:lnTo>
                    <a:pt x="145542" y="512350"/>
                  </a:lnTo>
                  <a:lnTo>
                    <a:pt x="178880" y="512350"/>
                  </a:lnTo>
                  <a:lnTo>
                    <a:pt x="178880" y="440055"/>
                  </a:lnTo>
                  <a:lnTo>
                    <a:pt x="323564" y="440055"/>
                  </a:lnTo>
                  <a:lnTo>
                    <a:pt x="323564" y="512350"/>
                  </a:lnTo>
                  <a:lnTo>
                    <a:pt x="356902" y="512350"/>
                  </a:lnTo>
                  <a:lnTo>
                    <a:pt x="356902" y="406718"/>
                  </a:lnTo>
                  <a:lnTo>
                    <a:pt x="299657" y="406718"/>
                  </a:lnTo>
                  <a:cubicBezTo>
                    <a:pt x="317278" y="392525"/>
                    <a:pt x="328517" y="370808"/>
                    <a:pt x="328517" y="346520"/>
                  </a:cubicBezTo>
                  <a:cubicBezTo>
                    <a:pt x="328517" y="341186"/>
                    <a:pt x="327946" y="335851"/>
                    <a:pt x="326898" y="330803"/>
                  </a:cubicBezTo>
                  <a:lnTo>
                    <a:pt x="469106" y="330803"/>
                  </a:lnTo>
                  <a:lnTo>
                    <a:pt x="469106" y="447675"/>
                  </a:lnTo>
                  <a:lnTo>
                    <a:pt x="502444" y="447675"/>
                  </a:lnTo>
                  <a:lnTo>
                    <a:pt x="502444" y="297466"/>
                  </a:lnTo>
                  <a:lnTo>
                    <a:pt x="441389" y="297466"/>
                  </a:lnTo>
                  <a:close/>
                  <a:moveTo>
                    <a:pt x="392906" y="193358"/>
                  </a:moveTo>
                  <a:cubicBezTo>
                    <a:pt x="417195" y="193358"/>
                    <a:pt x="436912" y="213074"/>
                    <a:pt x="436912" y="237363"/>
                  </a:cubicBezTo>
                  <a:cubicBezTo>
                    <a:pt x="436912" y="261652"/>
                    <a:pt x="417195" y="281369"/>
                    <a:pt x="392906" y="281369"/>
                  </a:cubicBezTo>
                  <a:cubicBezTo>
                    <a:pt x="368618" y="281369"/>
                    <a:pt x="348901" y="261652"/>
                    <a:pt x="348901" y="237363"/>
                  </a:cubicBezTo>
                  <a:cubicBezTo>
                    <a:pt x="348901" y="213074"/>
                    <a:pt x="368618" y="193358"/>
                    <a:pt x="392906" y="193358"/>
                  </a:cubicBezTo>
                  <a:close/>
                  <a:moveTo>
                    <a:pt x="109728" y="193358"/>
                  </a:moveTo>
                  <a:cubicBezTo>
                    <a:pt x="134017" y="193358"/>
                    <a:pt x="153734" y="213074"/>
                    <a:pt x="153734" y="237363"/>
                  </a:cubicBezTo>
                  <a:cubicBezTo>
                    <a:pt x="153734" y="261652"/>
                    <a:pt x="134017" y="281369"/>
                    <a:pt x="109728" y="281369"/>
                  </a:cubicBezTo>
                  <a:cubicBezTo>
                    <a:pt x="85439" y="281369"/>
                    <a:pt x="65723" y="261556"/>
                    <a:pt x="65723" y="237363"/>
                  </a:cubicBezTo>
                  <a:cubicBezTo>
                    <a:pt x="65723" y="213169"/>
                    <a:pt x="85439" y="193358"/>
                    <a:pt x="109728" y="193358"/>
                  </a:cubicBezTo>
                  <a:close/>
                  <a:moveTo>
                    <a:pt x="251269" y="302514"/>
                  </a:moveTo>
                  <a:cubicBezTo>
                    <a:pt x="275558" y="302514"/>
                    <a:pt x="295275" y="322231"/>
                    <a:pt x="295275" y="346520"/>
                  </a:cubicBezTo>
                  <a:cubicBezTo>
                    <a:pt x="295275" y="370808"/>
                    <a:pt x="275558" y="390525"/>
                    <a:pt x="251269" y="390525"/>
                  </a:cubicBezTo>
                  <a:cubicBezTo>
                    <a:pt x="226981" y="390525"/>
                    <a:pt x="207264" y="370808"/>
                    <a:pt x="207264" y="346520"/>
                  </a:cubicBezTo>
                  <a:cubicBezTo>
                    <a:pt x="207264" y="322231"/>
                    <a:pt x="226981" y="302514"/>
                    <a:pt x="251269" y="302514"/>
                  </a:cubicBezTo>
                  <a:close/>
                  <a:moveTo>
                    <a:pt x="267938" y="93631"/>
                  </a:moveTo>
                  <a:lnTo>
                    <a:pt x="234601" y="93631"/>
                  </a:lnTo>
                  <a:lnTo>
                    <a:pt x="234601" y="0"/>
                  </a:lnTo>
                  <a:lnTo>
                    <a:pt x="267938" y="0"/>
                  </a:lnTo>
                  <a:lnTo>
                    <a:pt x="267938" y="93631"/>
                  </a:lnTo>
                  <a:close/>
                  <a:moveTo>
                    <a:pt x="152305" y="125349"/>
                  </a:moveTo>
                  <a:lnTo>
                    <a:pt x="112014" y="40862"/>
                  </a:lnTo>
                  <a:lnTo>
                    <a:pt x="142113" y="26480"/>
                  </a:lnTo>
                  <a:lnTo>
                    <a:pt x="182404" y="110966"/>
                  </a:lnTo>
                  <a:lnTo>
                    <a:pt x="152305" y="125349"/>
                  </a:lnTo>
                  <a:close/>
                  <a:moveTo>
                    <a:pt x="350234" y="125349"/>
                  </a:moveTo>
                  <a:lnTo>
                    <a:pt x="320135" y="110966"/>
                  </a:lnTo>
                  <a:lnTo>
                    <a:pt x="360331" y="26480"/>
                  </a:lnTo>
                  <a:lnTo>
                    <a:pt x="390525" y="40862"/>
                  </a:lnTo>
                  <a:lnTo>
                    <a:pt x="350234" y="125349"/>
                  </a:lnTo>
                  <a:close/>
                </a:path>
              </a:pathLst>
            </a:custGeom>
            <a:solidFill>
              <a:schemeClr val="bg1"/>
            </a:solidFill>
            <a:ln w="9525"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xmlns="" id="{3E405723-F9E0-45C4-A06A-CBB9CB18C6B1}"/>
                </a:ext>
              </a:extLst>
            </p:cNvPr>
            <p:cNvSpPr>
              <a:spLocks noChangeAspect="1"/>
            </p:cNvSpPr>
            <p:nvPr/>
          </p:nvSpPr>
          <p:spPr bwMode="gray">
            <a:xfrm>
              <a:off x="4170863" y="3104149"/>
              <a:ext cx="769865" cy="608998"/>
            </a:xfrm>
            <a:custGeom>
              <a:avLst/>
              <a:gdLst>
                <a:gd name="connsiteX0" fmla="*/ 267557 w 638175"/>
                <a:gd name="connsiteY0" fmla="*/ 113348 h 504825"/>
                <a:gd name="connsiteX1" fmla="*/ 240601 w 638175"/>
                <a:gd name="connsiteY1" fmla="*/ 86392 h 504825"/>
                <a:gd name="connsiteX2" fmla="*/ 319849 w 638175"/>
                <a:gd name="connsiteY2" fmla="*/ 7144 h 504825"/>
                <a:gd name="connsiteX3" fmla="*/ 399097 w 638175"/>
                <a:gd name="connsiteY3" fmla="*/ 86392 h 504825"/>
                <a:gd name="connsiteX4" fmla="*/ 372142 w 638175"/>
                <a:gd name="connsiteY4" fmla="*/ 113348 h 504825"/>
                <a:gd name="connsiteX5" fmla="*/ 338899 w 638175"/>
                <a:gd name="connsiteY5" fmla="*/ 80105 h 504825"/>
                <a:gd name="connsiteX6" fmla="*/ 338899 w 638175"/>
                <a:gd name="connsiteY6" fmla="*/ 196025 h 504825"/>
                <a:gd name="connsiteX7" fmla="*/ 300799 w 638175"/>
                <a:gd name="connsiteY7" fmla="*/ 196025 h 504825"/>
                <a:gd name="connsiteX8" fmla="*/ 300799 w 638175"/>
                <a:gd name="connsiteY8" fmla="*/ 80105 h 504825"/>
                <a:gd name="connsiteX9" fmla="*/ 267557 w 638175"/>
                <a:gd name="connsiteY9" fmla="*/ 113348 h 504825"/>
                <a:gd name="connsiteX10" fmla="*/ 138874 w 638175"/>
                <a:gd name="connsiteY10" fmla="*/ 165830 h 504825"/>
                <a:gd name="connsiteX11" fmla="*/ 218789 w 638175"/>
                <a:gd name="connsiteY11" fmla="*/ 245745 h 504825"/>
                <a:gd name="connsiteX12" fmla="*/ 245745 w 638175"/>
                <a:gd name="connsiteY12" fmla="*/ 218789 h 504825"/>
                <a:gd name="connsiteX13" fmla="*/ 165830 w 638175"/>
                <a:gd name="connsiteY13" fmla="*/ 138875 h 504825"/>
                <a:gd name="connsiteX14" fmla="*/ 215074 w 638175"/>
                <a:gd name="connsiteY14" fmla="*/ 138875 h 504825"/>
                <a:gd name="connsiteX15" fmla="*/ 215074 w 638175"/>
                <a:gd name="connsiteY15" fmla="*/ 100775 h 504825"/>
                <a:gd name="connsiteX16" fmla="*/ 100774 w 638175"/>
                <a:gd name="connsiteY16" fmla="*/ 100775 h 504825"/>
                <a:gd name="connsiteX17" fmla="*/ 100774 w 638175"/>
                <a:gd name="connsiteY17" fmla="*/ 215075 h 504825"/>
                <a:gd name="connsiteX18" fmla="*/ 138874 w 638175"/>
                <a:gd name="connsiteY18" fmla="*/ 215075 h 504825"/>
                <a:gd name="connsiteX19" fmla="*/ 138874 w 638175"/>
                <a:gd name="connsiteY19" fmla="*/ 165830 h 504825"/>
                <a:gd name="connsiteX20" fmla="*/ 196024 w 638175"/>
                <a:gd name="connsiteY20" fmla="*/ 338900 h 504825"/>
                <a:gd name="connsiteX21" fmla="*/ 196024 w 638175"/>
                <a:gd name="connsiteY21" fmla="*/ 300800 h 504825"/>
                <a:gd name="connsiteX22" fmla="*/ 80105 w 638175"/>
                <a:gd name="connsiteY22" fmla="*/ 300800 h 504825"/>
                <a:gd name="connsiteX23" fmla="*/ 113347 w 638175"/>
                <a:gd name="connsiteY23" fmla="*/ 267557 h 504825"/>
                <a:gd name="connsiteX24" fmla="*/ 86392 w 638175"/>
                <a:gd name="connsiteY24" fmla="*/ 240602 h 504825"/>
                <a:gd name="connsiteX25" fmla="*/ 7144 w 638175"/>
                <a:gd name="connsiteY25" fmla="*/ 319850 h 504825"/>
                <a:gd name="connsiteX26" fmla="*/ 86392 w 638175"/>
                <a:gd name="connsiteY26" fmla="*/ 399098 h 504825"/>
                <a:gd name="connsiteX27" fmla="*/ 113347 w 638175"/>
                <a:gd name="connsiteY27" fmla="*/ 372142 h 504825"/>
                <a:gd name="connsiteX28" fmla="*/ 80105 w 638175"/>
                <a:gd name="connsiteY28" fmla="*/ 338900 h 504825"/>
                <a:gd name="connsiteX29" fmla="*/ 196024 w 638175"/>
                <a:gd name="connsiteY29" fmla="*/ 338900 h 504825"/>
                <a:gd name="connsiteX30" fmla="*/ 393954 w 638175"/>
                <a:gd name="connsiteY30" fmla="*/ 218885 h 504825"/>
                <a:gd name="connsiteX31" fmla="*/ 420909 w 638175"/>
                <a:gd name="connsiteY31" fmla="*/ 245840 h 504825"/>
                <a:gd name="connsiteX32" fmla="*/ 500824 w 638175"/>
                <a:gd name="connsiteY32" fmla="*/ 165926 h 504825"/>
                <a:gd name="connsiteX33" fmla="*/ 500824 w 638175"/>
                <a:gd name="connsiteY33" fmla="*/ 215170 h 504825"/>
                <a:gd name="connsiteX34" fmla="*/ 538924 w 638175"/>
                <a:gd name="connsiteY34" fmla="*/ 215170 h 504825"/>
                <a:gd name="connsiteX35" fmla="*/ 538924 w 638175"/>
                <a:gd name="connsiteY35" fmla="*/ 100870 h 504825"/>
                <a:gd name="connsiteX36" fmla="*/ 424624 w 638175"/>
                <a:gd name="connsiteY36" fmla="*/ 100870 h 504825"/>
                <a:gd name="connsiteX37" fmla="*/ 424624 w 638175"/>
                <a:gd name="connsiteY37" fmla="*/ 138970 h 504825"/>
                <a:gd name="connsiteX38" fmla="*/ 473869 w 638175"/>
                <a:gd name="connsiteY38" fmla="*/ 138970 h 504825"/>
                <a:gd name="connsiteX39" fmla="*/ 393954 w 638175"/>
                <a:gd name="connsiteY39" fmla="*/ 218885 h 504825"/>
                <a:gd name="connsiteX40" fmla="*/ 553307 w 638175"/>
                <a:gd name="connsiteY40" fmla="*/ 240697 h 504825"/>
                <a:gd name="connsiteX41" fmla="*/ 526351 w 638175"/>
                <a:gd name="connsiteY41" fmla="*/ 267653 h 504825"/>
                <a:gd name="connsiteX42" fmla="*/ 559594 w 638175"/>
                <a:gd name="connsiteY42" fmla="*/ 300895 h 504825"/>
                <a:gd name="connsiteX43" fmla="*/ 443674 w 638175"/>
                <a:gd name="connsiteY43" fmla="*/ 300895 h 504825"/>
                <a:gd name="connsiteX44" fmla="*/ 443674 w 638175"/>
                <a:gd name="connsiteY44" fmla="*/ 338995 h 504825"/>
                <a:gd name="connsiteX45" fmla="*/ 559594 w 638175"/>
                <a:gd name="connsiteY45" fmla="*/ 338995 h 504825"/>
                <a:gd name="connsiteX46" fmla="*/ 526351 w 638175"/>
                <a:gd name="connsiteY46" fmla="*/ 372237 h 504825"/>
                <a:gd name="connsiteX47" fmla="*/ 553307 w 638175"/>
                <a:gd name="connsiteY47" fmla="*/ 399193 h 504825"/>
                <a:gd name="connsiteX48" fmla="*/ 632555 w 638175"/>
                <a:gd name="connsiteY48" fmla="*/ 319945 h 504825"/>
                <a:gd name="connsiteX49" fmla="*/ 553307 w 638175"/>
                <a:gd name="connsiteY49" fmla="*/ 240697 h 504825"/>
                <a:gd name="connsiteX50" fmla="*/ 373666 w 638175"/>
                <a:gd name="connsiteY50" fmla="*/ 386525 h 504825"/>
                <a:gd name="connsiteX51" fmla="*/ 453295 w 638175"/>
                <a:gd name="connsiteY51" fmla="*/ 386525 h 504825"/>
                <a:gd name="connsiteX52" fmla="*/ 453295 w 638175"/>
                <a:gd name="connsiteY52" fmla="*/ 500825 h 504825"/>
                <a:gd name="connsiteX53" fmla="*/ 415195 w 638175"/>
                <a:gd name="connsiteY53" fmla="*/ 500825 h 504825"/>
                <a:gd name="connsiteX54" fmla="*/ 415195 w 638175"/>
                <a:gd name="connsiteY54" fmla="*/ 424625 h 504825"/>
                <a:gd name="connsiteX55" fmla="*/ 224695 w 638175"/>
                <a:gd name="connsiteY55" fmla="*/ 424625 h 504825"/>
                <a:gd name="connsiteX56" fmla="*/ 224695 w 638175"/>
                <a:gd name="connsiteY56" fmla="*/ 500825 h 504825"/>
                <a:gd name="connsiteX57" fmla="*/ 186595 w 638175"/>
                <a:gd name="connsiteY57" fmla="*/ 500825 h 504825"/>
                <a:gd name="connsiteX58" fmla="*/ 186595 w 638175"/>
                <a:gd name="connsiteY58" fmla="*/ 386525 h 504825"/>
                <a:gd name="connsiteX59" fmla="*/ 266224 w 638175"/>
                <a:gd name="connsiteY59" fmla="*/ 386525 h 504825"/>
                <a:gd name="connsiteX60" fmla="*/ 234220 w 638175"/>
                <a:gd name="connsiteY60" fmla="*/ 319850 h 504825"/>
                <a:gd name="connsiteX61" fmla="*/ 319945 w 638175"/>
                <a:gd name="connsiteY61" fmla="*/ 234125 h 504825"/>
                <a:gd name="connsiteX62" fmla="*/ 405670 w 638175"/>
                <a:gd name="connsiteY62" fmla="*/ 319850 h 504825"/>
                <a:gd name="connsiteX63" fmla="*/ 373666 w 638175"/>
                <a:gd name="connsiteY63" fmla="*/ 386525 h 504825"/>
                <a:gd name="connsiteX64" fmla="*/ 272224 w 638175"/>
                <a:gd name="connsiteY64" fmla="*/ 319850 h 504825"/>
                <a:gd name="connsiteX65" fmla="*/ 319849 w 638175"/>
                <a:gd name="connsiteY65" fmla="*/ 367475 h 504825"/>
                <a:gd name="connsiteX66" fmla="*/ 367474 w 638175"/>
                <a:gd name="connsiteY66" fmla="*/ 319850 h 504825"/>
                <a:gd name="connsiteX67" fmla="*/ 319849 w 638175"/>
                <a:gd name="connsiteY67" fmla="*/ 272225 h 504825"/>
                <a:gd name="connsiteX68" fmla="*/ 272224 w 638175"/>
                <a:gd name="connsiteY68" fmla="*/ 319850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38175" h="504825">
                  <a:moveTo>
                    <a:pt x="267557" y="113348"/>
                  </a:moveTo>
                  <a:lnTo>
                    <a:pt x="240601" y="86392"/>
                  </a:lnTo>
                  <a:lnTo>
                    <a:pt x="319849" y="7144"/>
                  </a:lnTo>
                  <a:lnTo>
                    <a:pt x="399097" y="86392"/>
                  </a:lnTo>
                  <a:lnTo>
                    <a:pt x="372142" y="113348"/>
                  </a:lnTo>
                  <a:lnTo>
                    <a:pt x="338899" y="80105"/>
                  </a:lnTo>
                  <a:lnTo>
                    <a:pt x="338899" y="196025"/>
                  </a:lnTo>
                  <a:lnTo>
                    <a:pt x="300799" y="196025"/>
                  </a:lnTo>
                  <a:lnTo>
                    <a:pt x="300799" y="80105"/>
                  </a:lnTo>
                  <a:lnTo>
                    <a:pt x="267557" y="113348"/>
                  </a:lnTo>
                  <a:close/>
                  <a:moveTo>
                    <a:pt x="138874" y="165830"/>
                  </a:moveTo>
                  <a:lnTo>
                    <a:pt x="218789" y="245745"/>
                  </a:lnTo>
                  <a:lnTo>
                    <a:pt x="245745" y="218789"/>
                  </a:lnTo>
                  <a:lnTo>
                    <a:pt x="165830" y="138875"/>
                  </a:lnTo>
                  <a:lnTo>
                    <a:pt x="215074" y="138875"/>
                  </a:lnTo>
                  <a:lnTo>
                    <a:pt x="215074" y="100775"/>
                  </a:lnTo>
                  <a:lnTo>
                    <a:pt x="100774" y="100775"/>
                  </a:lnTo>
                  <a:lnTo>
                    <a:pt x="100774" y="215075"/>
                  </a:lnTo>
                  <a:lnTo>
                    <a:pt x="138874" y="215075"/>
                  </a:lnTo>
                  <a:lnTo>
                    <a:pt x="138874" y="165830"/>
                  </a:lnTo>
                  <a:close/>
                  <a:moveTo>
                    <a:pt x="196024" y="338900"/>
                  </a:moveTo>
                  <a:lnTo>
                    <a:pt x="196024" y="300800"/>
                  </a:lnTo>
                  <a:lnTo>
                    <a:pt x="80105" y="300800"/>
                  </a:lnTo>
                  <a:lnTo>
                    <a:pt x="113347" y="267557"/>
                  </a:lnTo>
                  <a:lnTo>
                    <a:pt x="86392" y="240602"/>
                  </a:lnTo>
                  <a:lnTo>
                    <a:pt x="7144" y="319850"/>
                  </a:lnTo>
                  <a:lnTo>
                    <a:pt x="86392" y="399098"/>
                  </a:lnTo>
                  <a:lnTo>
                    <a:pt x="113347" y="372142"/>
                  </a:lnTo>
                  <a:lnTo>
                    <a:pt x="80105" y="338900"/>
                  </a:lnTo>
                  <a:lnTo>
                    <a:pt x="196024" y="338900"/>
                  </a:lnTo>
                  <a:close/>
                  <a:moveTo>
                    <a:pt x="393954" y="218885"/>
                  </a:moveTo>
                  <a:lnTo>
                    <a:pt x="420909" y="245840"/>
                  </a:lnTo>
                  <a:lnTo>
                    <a:pt x="500824" y="165926"/>
                  </a:lnTo>
                  <a:lnTo>
                    <a:pt x="500824" y="215170"/>
                  </a:lnTo>
                  <a:lnTo>
                    <a:pt x="538924" y="215170"/>
                  </a:lnTo>
                  <a:lnTo>
                    <a:pt x="538924" y="100870"/>
                  </a:lnTo>
                  <a:lnTo>
                    <a:pt x="424624" y="100870"/>
                  </a:lnTo>
                  <a:lnTo>
                    <a:pt x="424624" y="138970"/>
                  </a:lnTo>
                  <a:lnTo>
                    <a:pt x="473869" y="138970"/>
                  </a:lnTo>
                  <a:lnTo>
                    <a:pt x="393954" y="218885"/>
                  </a:lnTo>
                  <a:close/>
                  <a:moveTo>
                    <a:pt x="553307" y="240697"/>
                  </a:moveTo>
                  <a:lnTo>
                    <a:pt x="526351" y="267653"/>
                  </a:lnTo>
                  <a:lnTo>
                    <a:pt x="559594" y="300895"/>
                  </a:lnTo>
                  <a:lnTo>
                    <a:pt x="443674" y="300895"/>
                  </a:lnTo>
                  <a:lnTo>
                    <a:pt x="443674" y="338995"/>
                  </a:lnTo>
                  <a:lnTo>
                    <a:pt x="559594" y="338995"/>
                  </a:lnTo>
                  <a:lnTo>
                    <a:pt x="526351" y="372237"/>
                  </a:lnTo>
                  <a:lnTo>
                    <a:pt x="553307" y="399193"/>
                  </a:lnTo>
                  <a:lnTo>
                    <a:pt x="632555" y="319945"/>
                  </a:lnTo>
                  <a:lnTo>
                    <a:pt x="553307" y="240697"/>
                  </a:lnTo>
                  <a:close/>
                  <a:moveTo>
                    <a:pt x="373666" y="386525"/>
                  </a:moveTo>
                  <a:lnTo>
                    <a:pt x="453295" y="386525"/>
                  </a:lnTo>
                  <a:lnTo>
                    <a:pt x="453295" y="500825"/>
                  </a:lnTo>
                  <a:lnTo>
                    <a:pt x="415195" y="500825"/>
                  </a:lnTo>
                  <a:lnTo>
                    <a:pt x="415195" y="424625"/>
                  </a:lnTo>
                  <a:lnTo>
                    <a:pt x="224695" y="424625"/>
                  </a:lnTo>
                  <a:lnTo>
                    <a:pt x="224695" y="500825"/>
                  </a:lnTo>
                  <a:lnTo>
                    <a:pt x="186595" y="500825"/>
                  </a:lnTo>
                  <a:lnTo>
                    <a:pt x="186595" y="386525"/>
                  </a:lnTo>
                  <a:lnTo>
                    <a:pt x="266224" y="386525"/>
                  </a:lnTo>
                  <a:cubicBezTo>
                    <a:pt x="246793" y="370808"/>
                    <a:pt x="234220" y="346805"/>
                    <a:pt x="234220" y="319850"/>
                  </a:cubicBezTo>
                  <a:cubicBezTo>
                    <a:pt x="234220" y="272606"/>
                    <a:pt x="272701" y="234125"/>
                    <a:pt x="319945" y="234125"/>
                  </a:cubicBezTo>
                  <a:cubicBezTo>
                    <a:pt x="367189" y="234125"/>
                    <a:pt x="405670" y="272606"/>
                    <a:pt x="405670" y="319850"/>
                  </a:cubicBezTo>
                  <a:cubicBezTo>
                    <a:pt x="405574" y="346805"/>
                    <a:pt x="393097" y="370808"/>
                    <a:pt x="373666" y="386525"/>
                  </a:cubicBezTo>
                  <a:close/>
                  <a:moveTo>
                    <a:pt x="272224" y="319850"/>
                  </a:moveTo>
                  <a:cubicBezTo>
                    <a:pt x="272224" y="346138"/>
                    <a:pt x="293560" y="367475"/>
                    <a:pt x="319849" y="367475"/>
                  </a:cubicBezTo>
                  <a:cubicBezTo>
                    <a:pt x="346138" y="367475"/>
                    <a:pt x="367474" y="346138"/>
                    <a:pt x="367474" y="319850"/>
                  </a:cubicBezTo>
                  <a:cubicBezTo>
                    <a:pt x="367474" y="293561"/>
                    <a:pt x="346138" y="272225"/>
                    <a:pt x="319849" y="272225"/>
                  </a:cubicBezTo>
                  <a:cubicBezTo>
                    <a:pt x="293560" y="272225"/>
                    <a:pt x="272224" y="293656"/>
                    <a:pt x="272224" y="319850"/>
                  </a:cubicBezTo>
                  <a:close/>
                </a:path>
              </a:pathLst>
            </a:custGeom>
            <a:solidFill>
              <a:schemeClr val="bg1"/>
            </a:solidFill>
            <a:ln w="9525"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xmlns="" id="{EA534F8D-0CB5-4FC1-B5A1-BB38FA9B7FD1}"/>
                </a:ext>
              </a:extLst>
            </p:cNvPr>
            <p:cNvSpPr>
              <a:spLocks noChangeAspect="1"/>
            </p:cNvSpPr>
            <p:nvPr/>
          </p:nvSpPr>
          <p:spPr bwMode="gray">
            <a:xfrm>
              <a:off x="4339194" y="4509381"/>
              <a:ext cx="614012" cy="426686"/>
            </a:xfrm>
            <a:custGeom>
              <a:avLst/>
              <a:gdLst>
                <a:gd name="connsiteX0" fmla="*/ 82677 w 561975"/>
                <a:gd name="connsiteY0" fmla="*/ 83249 h 390525"/>
                <a:gd name="connsiteX1" fmla="*/ 301752 w 561975"/>
                <a:gd name="connsiteY1" fmla="*/ 83249 h 390525"/>
                <a:gd name="connsiteX2" fmla="*/ 301752 w 561975"/>
                <a:gd name="connsiteY2" fmla="*/ 121349 h 390525"/>
                <a:gd name="connsiteX3" fmla="*/ 82677 w 561975"/>
                <a:gd name="connsiteY3" fmla="*/ 121349 h 390525"/>
                <a:gd name="connsiteX4" fmla="*/ 82677 w 561975"/>
                <a:gd name="connsiteY4" fmla="*/ 83249 h 390525"/>
                <a:gd name="connsiteX5" fmla="*/ 82677 w 561975"/>
                <a:gd name="connsiteY5" fmla="*/ 197644 h 390525"/>
                <a:gd name="connsiteX6" fmla="*/ 254127 w 561975"/>
                <a:gd name="connsiteY6" fmla="*/ 197644 h 390525"/>
                <a:gd name="connsiteX7" fmla="*/ 254127 w 561975"/>
                <a:gd name="connsiteY7" fmla="*/ 159544 h 390525"/>
                <a:gd name="connsiteX8" fmla="*/ 82677 w 561975"/>
                <a:gd name="connsiteY8" fmla="*/ 159544 h 390525"/>
                <a:gd name="connsiteX9" fmla="*/ 82677 w 561975"/>
                <a:gd name="connsiteY9" fmla="*/ 197644 h 390525"/>
                <a:gd name="connsiteX10" fmla="*/ 559594 w 561975"/>
                <a:gd name="connsiteY10" fmla="*/ 254794 h 390525"/>
                <a:gd name="connsiteX11" fmla="*/ 559594 w 561975"/>
                <a:gd name="connsiteY11" fmla="*/ 388144 h 390525"/>
                <a:gd name="connsiteX12" fmla="*/ 521494 w 561975"/>
                <a:gd name="connsiteY12" fmla="*/ 388144 h 390525"/>
                <a:gd name="connsiteX13" fmla="*/ 521494 w 561975"/>
                <a:gd name="connsiteY13" fmla="*/ 292894 h 390525"/>
                <a:gd name="connsiteX14" fmla="*/ 350044 w 561975"/>
                <a:gd name="connsiteY14" fmla="*/ 292894 h 390525"/>
                <a:gd name="connsiteX15" fmla="*/ 350044 w 561975"/>
                <a:gd name="connsiteY15" fmla="*/ 388144 h 390525"/>
                <a:gd name="connsiteX16" fmla="*/ 311944 w 561975"/>
                <a:gd name="connsiteY16" fmla="*/ 388144 h 390525"/>
                <a:gd name="connsiteX17" fmla="*/ 311944 w 561975"/>
                <a:gd name="connsiteY17" fmla="*/ 311944 h 390525"/>
                <a:gd name="connsiteX18" fmla="*/ 7144 w 561975"/>
                <a:gd name="connsiteY18" fmla="*/ 311944 h 390525"/>
                <a:gd name="connsiteX19" fmla="*/ 7144 w 561975"/>
                <a:gd name="connsiteY19" fmla="*/ 7144 h 390525"/>
                <a:gd name="connsiteX20" fmla="*/ 426244 w 561975"/>
                <a:gd name="connsiteY20" fmla="*/ 7144 h 390525"/>
                <a:gd name="connsiteX21" fmla="*/ 426244 w 561975"/>
                <a:gd name="connsiteY21" fmla="*/ 93345 h 390525"/>
                <a:gd name="connsiteX22" fmla="*/ 435769 w 561975"/>
                <a:gd name="connsiteY22" fmla="*/ 92869 h 390525"/>
                <a:gd name="connsiteX23" fmla="*/ 531019 w 561975"/>
                <a:gd name="connsiteY23" fmla="*/ 188119 h 390525"/>
                <a:gd name="connsiteX24" fmla="*/ 503682 w 561975"/>
                <a:gd name="connsiteY24" fmla="*/ 254794 h 390525"/>
                <a:gd name="connsiteX25" fmla="*/ 559594 w 561975"/>
                <a:gd name="connsiteY25" fmla="*/ 254794 h 390525"/>
                <a:gd name="connsiteX26" fmla="*/ 435769 w 561975"/>
                <a:gd name="connsiteY26" fmla="*/ 130969 h 390525"/>
                <a:gd name="connsiteX27" fmla="*/ 378619 w 561975"/>
                <a:gd name="connsiteY27" fmla="*/ 188119 h 390525"/>
                <a:gd name="connsiteX28" fmla="*/ 435769 w 561975"/>
                <a:gd name="connsiteY28" fmla="*/ 245269 h 390525"/>
                <a:gd name="connsiteX29" fmla="*/ 492919 w 561975"/>
                <a:gd name="connsiteY29" fmla="*/ 188119 h 390525"/>
                <a:gd name="connsiteX30" fmla="*/ 435769 w 561975"/>
                <a:gd name="connsiteY30" fmla="*/ 130969 h 390525"/>
                <a:gd name="connsiteX31" fmla="*/ 367855 w 561975"/>
                <a:gd name="connsiteY31" fmla="*/ 254794 h 390525"/>
                <a:gd name="connsiteX32" fmla="*/ 340519 w 561975"/>
                <a:gd name="connsiteY32" fmla="*/ 188119 h 390525"/>
                <a:gd name="connsiteX33" fmla="*/ 388144 w 561975"/>
                <a:gd name="connsiteY33" fmla="*/ 105728 h 390525"/>
                <a:gd name="connsiteX34" fmla="*/ 388144 w 561975"/>
                <a:gd name="connsiteY34" fmla="*/ 45244 h 390525"/>
                <a:gd name="connsiteX35" fmla="*/ 45244 w 561975"/>
                <a:gd name="connsiteY35" fmla="*/ 45244 h 390525"/>
                <a:gd name="connsiteX36" fmla="*/ 45244 w 561975"/>
                <a:gd name="connsiteY36" fmla="*/ 273844 h 390525"/>
                <a:gd name="connsiteX37" fmla="*/ 311944 w 561975"/>
                <a:gd name="connsiteY37" fmla="*/ 273844 h 390525"/>
                <a:gd name="connsiteX38" fmla="*/ 311944 w 561975"/>
                <a:gd name="connsiteY38" fmla="*/ 254794 h 390525"/>
                <a:gd name="connsiteX39" fmla="*/ 367855 w 561975"/>
                <a:gd name="connsiteY39" fmla="*/ 254794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61975" h="390525">
                  <a:moveTo>
                    <a:pt x="82677" y="83249"/>
                  </a:moveTo>
                  <a:lnTo>
                    <a:pt x="301752" y="83249"/>
                  </a:lnTo>
                  <a:lnTo>
                    <a:pt x="301752" y="121349"/>
                  </a:lnTo>
                  <a:lnTo>
                    <a:pt x="82677" y="121349"/>
                  </a:lnTo>
                  <a:lnTo>
                    <a:pt x="82677" y="83249"/>
                  </a:lnTo>
                  <a:close/>
                  <a:moveTo>
                    <a:pt x="82677" y="197644"/>
                  </a:moveTo>
                  <a:lnTo>
                    <a:pt x="254127" y="197644"/>
                  </a:lnTo>
                  <a:lnTo>
                    <a:pt x="254127" y="159544"/>
                  </a:lnTo>
                  <a:lnTo>
                    <a:pt x="82677" y="159544"/>
                  </a:lnTo>
                  <a:lnTo>
                    <a:pt x="82677" y="197644"/>
                  </a:lnTo>
                  <a:close/>
                  <a:moveTo>
                    <a:pt x="559594" y="254794"/>
                  </a:moveTo>
                  <a:lnTo>
                    <a:pt x="559594" y="388144"/>
                  </a:lnTo>
                  <a:lnTo>
                    <a:pt x="521494" y="388144"/>
                  </a:lnTo>
                  <a:lnTo>
                    <a:pt x="521494" y="292894"/>
                  </a:lnTo>
                  <a:lnTo>
                    <a:pt x="350044" y="292894"/>
                  </a:lnTo>
                  <a:lnTo>
                    <a:pt x="350044" y="388144"/>
                  </a:lnTo>
                  <a:lnTo>
                    <a:pt x="311944" y="388144"/>
                  </a:lnTo>
                  <a:lnTo>
                    <a:pt x="311944" y="311944"/>
                  </a:lnTo>
                  <a:lnTo>
                    <a:pt x="7144" y="311944"/>
                  </a:lnTo>
                  <a:lnTo>
                    <a:pt x="7144" y="7144"/>
                  </a:lnTo>
                  <a:lnTo>
                    <a:pt x="426244" y="7144"/>
                  </a:lnTo>
                  <a:lnTo>
                    <a:pt x="426244" y="93345"/>
                  </a:lnTo>
                  <a:cubicBezTo>
                    <a:pt x="429387" y="93059"/>
                    <a:pt x="432530" y="92869"/>
                    <a:pt x="435769" y="92869"/>
                  </a:cubicBezTo>
                  <a:cubicBezTo>
                    <a:pt x="488251" y="92869"/>
                    <a:pt x="531019" y="135636"/>
                    <a:pt x="531019" y="188119"/>
                  </a:cubicBezTo>
                  <a:cubicBezTo>
                    <a:pt x="531019" y="214027"/>
                    <a:pt x="520541" y="237553"/>
                    <a:pt x="503682" y="254794"/>
                  </a:cubicBezTo>
                  <a:lnTo>
                    <a:pt x="559594" y="254794"/>
                  </a:lnTo>
                  <a:close/>
                  <a:moveTo>
                    <a:pt x="435769" y="130969"/>
                  </a:moveTo>
                  <a:cubicBezTo>
                    <a:pt x="404241" y="130969"/>
                    <a:pt x="378619" y="156591"/>
                    <a:pt x="378619" y="188119"/>
                  </a:cubicBezTo>
                  <a:cubicBezTo>
                    <a:pt x="378619" y="219647"/>
                    <a:pt x="404241" y="245269"/>
                    <a:pt x="435769" y="245269"/>
                  </a:cubicBezTo>
                  <a:cubicBezTo>
                    <a:pt x="467296" y="245269"/>
                    <a:pt x="492919" y="219647"/>
                    <a:pt x="492919" y="188119"/>
                  </a:cubicBezTo>
                  <a:cubicBezTo>
                    <a:pt x="492919" y="156591"/>
                    <a:pt x="467296" y="130969"/>
                    <a:pt x="435769" y="130969"/>
                  </a:cubicBezTo>
                  <a:close/>
                  <a:moveTo>
                    <a:pt x="367855" y="254794"/>
                  </a:moveTo>
                  <a:cubicBezTo>
                    <a:pt x="350996" y="237553"/>
                    <a:pt x="340519" y="214027"/>
                    <a:pt x="340519" y="188119"/>
                  </a:cubicBezTo>
                  <a:cubicBezTo>
                    <a:pt x="340519" y="152972"/>
                    <a:pt x="359759" y="122301"/>
                    <a:pt x="388144" y="105728"/>
                  </a:cubicBezTo>
                  <a:lnTo>
                    <a:pt x="388144" y="45244"/>
                  </a:lnTo>
                  <a:lnTo>
                    <a:pt x="45244" y="45244"/>
                  </a:lnTo>
                  <a:lnTo>
                    <a:pt x="45244" y="273844"/>
                  </a:lnTo>
                  <a:lnTo>
                    <a:pt x="311944" y="273844"/>
                  </a:lnTo>
                  <a:lnTo>
                    <a:pt x="311944" y="254794"/>
                  </a:lnTo>
                  <a:lnTo>
                    <a:pt x="367855" y="254794"/>
                  </a:lnTo>
                  <a:close/>
                </a:path>
              </a:pathLst>
            </a:custGeom>
            <a:solidFill>
              <a:schemeClr val="bg1"/>
            </a:solidFill>
            <a:ln w="9525" cap="flat">
              <a:noFill/>
              <a:prstDash val="solid"/>
              <a:miter/>
            </a:ln>
          </p:spPr>
          <p:txBody>
            <a:bodyPr rtlCol="0" anchor="ctr"/>
            <a:lstStyle/>
            <a:p>
              <a:endParaRPr lang="en-US" dirty="0"/>
            </a:p>
          </p:txBody>
        </p:sp>
        <p:sp>
          <p:nvSpPr>
            <p:cNvPr id="17" name="Rectangle 16">
              <a:extLst>
                <a:ext uri="{FF2B5EF4-FFF2-40B4-BE49-F238E27FC236}">
                  <a16:creationId xmlns:a16="http://schemas.microsoft.com/office/drawing/2014/main" xmlns="" id="{BA663BC3-CFAF-40FF-A4D5-DEE268997FA9}"/>
                </a:ext>
              </a:extLst>
            </p:cNvPr>
            <p:cNvSpPr/>
            <p:nvPr/>
          </p:nvSpPr>
          <p:spPr bwMode="gray">
            <a:xfrm>
              <a:off x="5545356" y="3075862"/>
              <a:ext cx="5601785" cy="6625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2"/>
                  </a:solidFill>
                </a:rPr>
                <a:t>Job Series</a:t>
              </a:r>
            </a:p>
            <a:p>
              <a:r>
                <a:rPr lang="en-US" sz="1600" dirty="0">
                  <a:solidFill>
                    <a:schemeClr val="tx1"/>
                  </a:solidFill>
                </a:rPr>
                <a:t>A number of related job series that share common characteristics and competencies</a:t>
              </a:r>
            </a:p>
          </p:txBody>
        </p:sp>
      </p:grpSp>
      <p:sp>
        <p:nvSpPr>
          <p:cNvPr id="3" name="Rectangle 2">
            <a:extLst>
              <a:ext uri="{FF2B5EF4-FFF2-40B4-BE49-F238E27FC236}">
                <a16:creationId xmlns:a16="http://schemas.microsoft.com/office/drawing/2014/main" xmlns="" id="{2B7B9A54-16B2-4CE7-B2AD-E67CC0B30D18}"/>
              </a:ext>
            </a:extLst>
          </p:cNvPr>
          <p:cNvSpPr/>
          <p:nvPr/>
        </p:nvSpPr>
        <p:spPr>
          <a:xfrm rot="18607421">
            <a:off x="1435373" y="3403239"/>
            <a:ext cx="1514168" cy="4431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rstTxWarp prst="textArchUp">
              <a:avLst/>
            </a:prstTxWarp>
          </a:bodyPr>
          <a:lstStyle/>
          <a:p>
            <a:pPr algn="ctr"/>
            <a:r>
              <a:rPr lang="en-US" dirty="0">
                <a:solidFill>
                  <a:schemeClr val="bg1"/>
                </a:solidFill>
                <a:latin typeface="+mj-lt"/>
              </a:rPr>
              <a:t>Engineer</a:t>
            </a:r>
          </a:p>
        </p:txBody>
      </p:sp>
      <p:sp>
        <p:nvSpPr>
          <p:cNvPr id="23" name="Rectangle 22">
            <a:extLst>
              <a:ext uri="{FF2B5EF4-FFF2-40B4-BE49-F238E27FC236}">
                <a16:creationId xmlns:a16="http://schemas.microsoft.com/office/drawing/2014/main" xmlns="" id="{982A7C45-322B-4504-8FE2-15B44663E898}"/>
              </a:ext>
            </a:extLst>
          </p:cNvPr>
          <p:cNvSpPr/>
          <p:nvPr/>
        </p:nvSpPr>
        <p:spPr>
          <a:xfrm rot="18607421">
            <a:off x="2310856" y="4348623"/>
            <a:ext cx="1810763" cy="44319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rstTxWarp prst="textArchUp">
              <a:avLst/>
            </a:prstTxWarp>
          </a:bodyPr>
          <a:lstStyle/>
          <a:p>
            <a:pPr algn="ctr"/>
            <a:r>
              <a:rPr lang="en-US" dirty="0">
                <a:solidFill>
                  <a:schemeClr val="bg1"/>
                </a:solidFill>
                <a:latin typeface="+mj-lt"/>
              </a:rPr>
              <a:t>Data Engineer</a:t>
            </a:r>
          </a:p>
        </p:txBody>
      </p:sp>
      <p:sp>
        <p:nvSpPr>
          <p:cNvPr id="24" name="Rectangle 23">
            <a:extLst>
              <a:ext uri="{FF2B5EF4-FFF2-40B4-BE49-F238E27FC236}">
                <a16:creationId xmlns:a16="http://schemas.microsoft.com/office/drawing/2014/main" xmlns="" id="{E9B7B257-89AC-497C-AC7A-3185CF60FF1D}"/>
              </a:ext>
            </a:extLst>
          </p:cNvPr>
          <p:cNvSpPr/>
          <p:nvPr/>
        </p:nvSpPr>
        <p:spPr>
          <a:xfrm rot="18607421">
            <a:off x="3300485" y="5323069"/>
            <a:ext cx="1810763" cy="443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rstTxWarp prst="textArchUp">
              <a:avLst/>
            </a:prstTxWarp>
          </a:bodyPr>
          <a:lstStyle/>
          <a:p>
            <a:pPr algn="ctr"/>
            <a:r>
              <a:rPr lang="en-US" sz="1400" dirty="0">
                <a:solidFill>
                  <a:schemeClr val="bg1"/>
                </a:solidFill>
                <a:latin typeface="+mj-lt"/>
              </a:rPr>
              <a:t>Senior Data </a:t>
            </a:r>
          </a:p>
          <a:p>
            <a:pPr algn="ctr"/>
            <a:r>
              <a:rPr lang="en-US" sz="1400" dirty="0">
                <a:solidFill>
                  <a:schemeClr val="bg1"/>
                </a:solidFill>
                <a:latin typeface="+mj-lt"/>
              </a:rPr>
              <a:t>Engineer</a:t>
            </a:r>
          </a:p>
        </p:txBody>
      </p:sp>
      <p:sp>
        <p:nvSpPr>
          <p:cNvPr id="25" name="Rectangle 24">
            <a:extLst>
              <a:ext uri="{FF2B5EF4-FFF2-40B4-BE49-F238E27FC236}">
                <a16:creationId xmlns:a16="http://schemas.microsoft.com/office/drawing/2014/main" xmlns="" id="{FBFB2EBF-B249-448B-98CD-59CCDEEA13C6}"/>
              </a:ext>
            </a:extLst>
          </p:cNvPr>
          <p:cNvSpPr/>
          <p:nvPr/>
        </p:nvSpPr>
        <p:spPr bwMode="gray">
          <a:xfrm>
            <a:off x="5545356" y="4305725"/>
            <a:ext cx="5601785" cy="6625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2"/>
                </a:solidFill>
              </a:rPr>
              <a:t>Jobs (Titles &amp; Descriptions)</a:t>
            </a:r>
          </a:p>
          <a:p>
            <a:r>
              <a:rPr lang="en-US" sz="1600" dirty="0">
                <a:solidFill>
                  <a:schemeClr val="tx1"/>
                </a:solidFill>
              </a:rPr>
              <a:t>A specific job within the job series consisting of responsibilities and duties assigned to one employee at a particular level</a:t>
            </a:r>
          </a:p>
        </p:txBody>
      </p:sp>
    </p:spTree>
    <p:extLst>
      <p:ext uri="{BB962C8B-B14F-4D97-AF65-F5344CB8AC3E}">
        <p14:creationId xmlns:p14="http://schemas.microsoft.com/office/powerpoint/2010/main" val="39215737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E9C22BED-4A60-40AC-9E25-EFF74A9787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2"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E9C22BED-4A60-40AC-9E25-EFF74A9787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9577AD7F-2545-4097-BEB8-884353741155}"/>
              </a:ext>
            </a:extLst>
          </p:cNvPr>
          <p:cNvSpPr>
            <a:spLocks noGrp="1"/>
          </p:cNvSpPr>
          <p:nvPr>
            <p:ph type="title"/>
          </p:nvPr>
        </p:nvSpPr>
        <p:spPr bwMode="gray"/>
        <p:txBody>
          <a:bodyPr vert="horz"/>
          <a:lstStyle/>
          <a:p>
            <a:r>
              <a:rPr lang="en-US" dirty="0"/>
              <a:t>Gartner’s IT Job Architecture Baseline Framework</a:t>
            </a:r>
          </a:p>
        </p:txBody>
      </p:sp>
      <p:sp>
        <p:nvSpPr>
          <p:cNvPr id="6" name="TextBox 5">
            <a:extLst>
              <a:ext uri="{FF2B5EF4-FFF2-40B4-BE49-F238E27FC236}">
                <a16:creationId xmlns:a16="http://schemas.microsoft.com/office/drawing/2014/main" xmlns="" id="{237026CE-68F5-4F58-8F7F-AA4796C740A7}"/>
              </a:ext>
            </a:extLst>
          </p:cNvPr>
          <p:cNvSpPr txBox="1"/>
          <p:nvPr/>
        </p:nvSpPr>
        <p:spPr bwMode="gray">
          <a:xfrm>
            <a:off x="457201" y="984601"/>
            <a:ext cx="1794367" cy="307777"/>
          </a:xfrm>
          <a:prstGeom prst="rect">
            <a:avLst/>
          </a:prstGeom>
          <a:solidFill>
            <a:srgbClr val="002856"/>
          </a:solidFill>
          <a:ln w="25400">
            <a:noFill/>
            <a:prstDash val="solid"/>
          </a:ln>
        </p:spPr>
        <p:txBody>
          <a:bodyPr wrap="square" lIns="45720" tIns="45720" rIns="45720" bIns="45720" rtlCol="0">
            <a:spAutoFit/>
          </a:bodyPr>
          <a:lstStyle/>
          <a:p>
            <a:pPr algn="ctr"/>
            <a:r>
              <a:rPr lang="en-US" sz="1400" b="1" dirty="0">
                <a:solidFill>
                  <a:schemeClr val="bg1"/>
                </a:solidFill>
                <a:latin typeface="+mj-lt"/>
              </a:rPr>
              <a:t>Job Families</a:t>
            </a:r>
          </a:p>
        </p:txBody>
      </p:sp>
      <p:sp>
        <p:nvSpPr>
          <p:cNvPr id="7" name="TextBox 6">
            <a:extLst>
              <a:ext uri="{FF2B5EF4-FFF2-40B4-BE49-F238E27FC236}">
                <a16:creationId xmlns:a16="http://schemas.microsoft.com/office/drawing/2014/main" xmlns="" id="{DA6686F2-CF5C-4759-8AE9-C7AB1B4F6F90}"/>
              </a:ext>
            </a:extLst>
          </p:cNvPr>
          <p:cNvSpPr txBox="1"/>
          <p:nvPr/>
        </p:nvSpPr>
        <p:spPr bwMode="gray">
          <a:xfrm>
            <a:off x="2561914" y="984601"/>
            <a:ext cx="5333361" cy="307777"/>
          </a:xfrm>
          <a:prstGeom prst="rect">
            <a:avLst/>
          </a:prstGeom>
          <a:solidFill>
            <a:srgbClr val="002856"/>
          </a:solidFill>
          <a:ln w="25400">
            <a:noFill/>
            <a:prstDash val="solid"/>
          </a:ln>
        </p:spPr>
        <p:txBody>
          <a:bodyPr wrap="square" lIns="45720" tIns="45720" rIns="45720" bIns="45720" rtlCol="0">
            <a:spAutoFit/>
          </a:bodyPr>
          <a:lstStyle/>
          <a:p>
            <a:pPr algn="ctr"/>
            <a:r>
              <a:rPr lang="en-US" sz="1400" b="1" dirty="0">
                <a:solidFill>
                  <a:schemeClr val="bg1"/>
                </a:solidFill>
                <a:latin typeface="+mj-lt"/>
              </a:rPr>
              <a:t>Job Series</a:t>
            </a:r>
          </a:p>
        </p:txBody>
      </p:sp>
      <p:sp>
        <p:nvSpPr>
          <p:cNvPr id="17" name="TextBox 16">
            <a:extLst>
              <a:ext uri="{FF2B5EF4-FFF2-40B4-BE49-F238E27FC236}">
                <a16:creationId xmlns:a16="http://schemas.microsoft.com/office/drawing/2014/main" xmlns="" id="{DA1C5653-54F2-471A-8788-3655C38A5BEC}"/>
              </a:ext>
            </a:extLst>
          </p:cNvPr>
          <p:cNvSpPr txBox="1"/>
          <p:nvPr/>
        </p:nvSpPr>
        <p:spPr bwMode="gray">
          <a:xfrm>
            <a:off x="8115300" y="984601"/>
            <a:ext cx="3617913" cy="307777"/>
          </a:xfrm>
          <a:prstGeom prst="rect">
            <a:avLst/>
          </a:prstGeom>
          <a:solidFill>
            <a:srgbClr val="002856"/>
          </a:solidFill>
          <a:ln w="25400">
            <a:noFill/>
            <a:prstDash val="solid"/>
          </a:ln>
        </p:spPr>
        <p:txBody>
          <a:bodyPr wrap="square" lIns="45720" tIns="45720" rIns="45720" bIns="45720" rtlCol="0">
            <a:spAutoFit/>
          </a:bodyPr>
          <a:lstStyle/>
          <a:p>
            <a:pPr algn="ctr"/>
            <a:r>
              <a:rPr lang="en-US" sz="1400" b="1" dirty="0">
                <a:solidFill>
                  <a:schemeClr val="bg1"/>
                </a:solidFill>
                <a:latin typeface="+mj-lt"/>
              </a:rPr>
              <a:t>Sample Job Titles (Illustrative)</a:t>
            </a:r>
          </a:p>
        </p:txBody>
      </p:sp>
      <p:sp>
        <p:nvSpPr>
          <p:cNvPr id="19" name="TextBox 18">
            <a:extLst>
              <a:ext uri="{FF2B5EF4-FFF2-40B4-BE49-F238E27FC236}">
                <a16:creationId xmlns:a16="http://schemas.microsoft.com/office/drawing/2014/main" xmlns="" id="{0D1E1150-19E3-4B5D-8754-2D1C7350C5D1}"/>
              </a:ext>
            </a:extLst>
          </p:cNvPr>
          <p:cNvSpPr txBox="1"/>
          <p:nvPr/>
        </p:nvSpPr>
        <p:spPr bwMode="gray">
          <a:xfrm>
            <a:off x="8115300" y="1758659"/>
            <a:ext cx="3606553" cy="433456"/>
          </a:xfrm>
          <a:prstGeom prst="rect">
            <a:avLst/>
          </a:prstGeom>
          <a:noFill/>
          <a:ln w="12700">
            <a:solidFill>
              <a:srgbClr val="D3D3D3"/>
            </a:solidFill>
            <a:prstDash val="solid"/>
          </a:ln>
        </p:spPr>
        <p:txBody>
          <a:bodyPr wrap="square" lIns="45720" tIns="45720" rIns="45720" bIns="45720" rtlCol="0" anchor="ctr">
            <a:noAutofit/>
          </a:bodyPr>
          <a:lstStyle/>
          <a:p>
            <a:r>
              <a:rPr lang="en-US" sz="1000" b="1" dirty="0"/>
              <a:t>Security: </a:t>
            </a:r>
            <a:r>
              <a:rPr lang="en-US" sz="1000" dirty="0"/>
              <a:t>Network Security Engineer, Information Security Engineer | </a:t>
            </a:r>
            <a:r>
              <a:rPr lang="en-US" sz="1000" b="1" dirty="0"/>
              <a:t>Infrastructure: </a:t>
            </a:r>
            <a:r>
              <a:rPr lang="en-US" sz="1000" dirty="0"/>
              <a:t>Network Engineer, Cloud Engineer</a:t>
            </a:r>
          </a:p>
        </p:txBody>
      </p:sp>
      <p:sp>
        <p:nvSpPr>
          <p:cNvPr id="8" name="TextBox 7">
            <a:extLst>
              <a:ext uri="{FF2B5EF4-FFF2-40B4-BE49-F238E27FC236}">
                <a16:creationId xmlns:a16="http://schemas.microsoft.com/office/drawing/2014/main" xmlns="" id="{01F6A27B-B472-46D5-B05D-8E53E6E464F6}"/>
              </a:ext>
            </a:extLst>
          </p:cNvPr>
          <p:cNvSpPr txBox="1"/>
          <p:nvPr/>
        </p:nvSpPr>
        <p:spPr bwMode="gray">
          <a:xfrm>
            <a:off x="457201" y="1343024"/>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dirty="0"/>
              <a:t>Architecture</a:t>
            </a:r>
          </a:p>
        </p:txBody>
      </p:sp>
      <p:sp>
        <p:nvSpPr>
          <p:cNvPr id="9" name="TextBox 8">
            <a:extLst>
              <a:ext uri="{FF2B5EF4-FFF2-40B4-BE49-F238E27FC236}">
                <a16:creationId xmlns:a16="http://schemas.microsoft.com/office/drawing/2014/main" xmlns="" id="{8DC504A6-FC90-49ED-B1F9-61FEB53D3396}"/>
              </a:ext>
            </a:extLst>
          </p:cNvPr>
          <p:cNvSpPr txBox="1"/>
          <p:nvPr/>
        </p:nvSpPr>
        <p:spPr bwMode="gray">
          <a:xfrm>
            <a:off x="457201" y="1817516"/>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dirty="0"/>
              <a:t>Engineering</a:t>
            </a:r>
          </a:p>
        </p:txBody>
      </p:sp>
      <p:sp>
        <p:nvSpPr>
          <p:cNvPr id="10" name="TextBox 9">
            <a:extLst>
              <a:ext uri="{FF2B5EF4-FFF2-40B4-BE49-F238E27FC236}">
                <a16:creationId xmlns:a16="http://schemas.microsoft.com/office/drawing/2014/main" xmlns="" id="{4DEEFA34-A1A0-42B3-9CFC-FE23EBEAF3EB}"/>
              </a:ext>
            </a:extLst>
          </p:cNvPr>
          <p:cNvSpPr txBox="1"/>
          <p:nvPr/>
        </p:nvSpPr>
        <p:spPr bwMode="gray">
          <a:xfrm>
            <a:off x="457201" y="2292008"/>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dirty="0"/>
              <a:t>Analysis</a:t>
            </a:r>
          </a:p>
        </p:txBody>
      </p:sp>
      <p:sp>
        <p:nvSpPr>
          <p:cNvPr id="11" name="TextBox 10">
            <a:extLst>
              <a:ext uri="{FF2B5EF4-FFF2-40B4-BE49-F238E27FC236}">
                <a16:creationId xmlns:a16="http://schemas.microsoft.com/office/drawing/2014/main" xmlns="" id="{3DF7A7EA-744B-4B3C-BE4B-A42B2CD7C8BA}"/>
              </a:ext>
            </a:extLst>
          </p:cNvPr>
          <p:cNvSpPr txBox="1"/>
          <p:nvPr/>
        </p:nvSpPr>
        <p:spPr bwMode="gray">
          <a:xfrm>
            <a:off x="457201" y="2766500"/>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dirty="0"/>
              <a:t>Product and Platform Management</a:t>
            </a:r>
          </a:p>
        </p:txBody>
      </p:sp>
      <p:sp>
        <p:nvSpPr>
          <p:cNvPr id="12" name="TextBox 11">
            <a:extLst>
              <a:ext uri="{FF2B5EF4-FFF2-40B4-BE49-F238E27FC236}">
                <a16:creationId xmlns:a16="http://schemas.microsoft.com/office/drawing/2014/main" xmlns="" id="{8AD86A41-09E8-4B5F-A4AA-997A68031751}"/>
              </a:ext>
            </a:extLst>
          </p:cNvPr>
          <p:cNvSpPr txBox="1"/>
          <p:nvPr/>
        </p:nvSpPr>
        <p:spPr bwMode="gray">
          <a:xfrm>
            <a:off x="457201" y="3240991"/>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dirty="0"/>
              <a:t>Delivery</a:t>
            </a:r>
          </a:p>
        </p:txBody>
      </p:sp>
      <p:sp>
        <p:nvSpPr>
          <p:cNvPr id="13" name="TextBox 12">
            <a:extLst>
              <a:ext uri="{FF2B5EF4-FFF2-40B4-BE49-F238E27FC236}">
                <a16:creationId xmlns:a16="http://schemas.microsoft.com/office/drawing/2014/main" xmlns="" id="{AAA70FDE-AC7E-4EBE-8FF7-CAE247B1E30B}"/>
              </a:ext>
            </a:extLst>
          </p:cNvPr>
          <p:cNvSpPr txBox="1"/>
          <p:nvPr/>
        </p:nvSpPr>
        <p:spPr bwMode="gray">
          <a:xfrm>
            <a:off x="457201" y="5138959"/>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dirty="0"/>
              <a:t>IT Functional Support</a:t>
            </a:r>
          </a:p>
        </p:txBody>
      </p:sp>
      <p:sp>
        <p:nvSpPr>
          <p:cNvPr id="14" name="TextBox 13">
            <a:extLst>
              <a:ext uri="{FF2B5EF4-FFF2-40B4-BE49-F238E27FC236}">
                <a16:creationId xmlns:a16="http://schemas.microsoft.com/office/drawing/2014/main" xmlns="" id="{2D5BFE0D-BB15-4CAF-BD33-9C70FFDFCF77}"/>
              </a:ext>
            </a:extLst>
          </p:cNvPr>
          <p:cNvSpPr txBox="1"/>
          <p:nvPr/>
        </p:nvSpPr>
        <p:spPr bwMode="gray">
          <a:xfrm>
            <a:off x="457201" y="4664467"/>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dirty="0"/>
              <a:t>UX</a:t>
            </a:r>
          </a:p>
        </p:txBody>
      </p:sp>
      <p:sp>
        <p:nvSpPr>
          <p:cNvPr id="15" name="TextBox 14">
            <a:extLst>
              <a:ext uri="{FF2B5EF4-FFF2-40B4-BE49-F238E27FC236}">
                <a16:creationId xmlns:a16="http://schemas.microsoft.com/office/drawing/2014/main" xmlns="" id="{05BDB3F0-BE58-405F-9ACD-FFC0C668F9D0}"/>
              </a:ext>
            </a:extLst>
          </p:cNvPr>
          <p:cNvSpPr txBox="1"/>
          <p:nvPr/>
        </p:nvSpPr>
        <p:spPr bwMode="gray">
          <a:xfrm>
            <a:off x="457201" y="4189974"/>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dirty="0"/>
              <a:t>Technical Support</a:t>
            </a:r>
          </a:p>
        </p:txBody>
      </p:sp>
      <p:sp>
        <p:nvSpPr>
          <p:cNvPr id="16" name="TextBox 15">
            <a:extLst>
              <a:ext uri="{FF2B5EF4-FFF2-40B4-BE49-F238E27FC236}">
                <a16:creationId xmlns:a16="http://schemas.microsoft.com/office/drawing/2014/main" xmlns="" id="{9C13BE77-42C1-4320-A12E-975BCE1AAD78}"/>
              </a:ext>
            </a:extLst>
          </p:cNvPr>
          <p:cNvSpPr txBox="1"/>
          <p:nvPr/>
        </p:nvSpPr>
        <p:spPr bwMode="gray">
          <a:xfrm>
            <a:off x="457201" y="3715482"/>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dirty="0"/>
              <a:t>Technical </a:t>
            </a:r>
          </a:p>
          <a:p>
            <a:pPr algn="ctr">
              <a:lnSpc>
                <a:spcPct val="80000"/>
              </a:lnSpc>
            </a:pPr>
            <a:r>
              <a:rPr lang="en-US" sz="1200" dirty="0"/>
              <a:t>Administration</a:t>
            </a:r>
          </a:p>
        </p:txBody>
      </p:sp>
      <p:sp>
        <p:nvSpPr>
          <p:cNvPr id="21" name="TextBox 20">
            <a:extLst>
              <a:ext uri="{FF2B5EF4-FFF2-40B4-BE49-F238E27FC236}">
                <a16:creationId xmlns:a16="http://schemas.microsoft.com/office/drawing/2014/main" xmlns="" id="{D0CFC466-9063-4AE2-9BB4-C70031096243}"/>
              </a:ext>
            </a:extLst>
          </p:cNvPr>
          <p:cNvSpPr txBox="1"/>
          <p:nvPr/>
        </p:nvSpPr>
        <p:spPr bwMode="gray">
          <a:xfrm>
            <a:off x="457201" y="5618028"/>
            <a:ext cx="1794367" cy="374599"/>
          </a:xfrm>
          <a:prstGeom prst="rect">
            <a:avLst/>
          </a:prstGeom>
          <a:noFill/>
          <a:ln w="12700">
            <a:solidFill>
              <a:srgbClr val="91DCF8"/>
            </a:solidFill>
            <a:prstDash val="solid"/>
          </a:ln>
        </p:spPr>
        <p:txBody>
          <a:bodyPr wrap="square" lIns="0" tIns="0" rIns="0" bIns="0" rtlCol="0" anchor="ctr">
            <a:noAutofit/>
          </a:bodyPr>
          <a:lstStyle/>
          <a:p>
            <a:pPr algn="ctr">
              <a:lnSpc>
                <a:spcPct val="80000"/>
              </a:lnSpc>
            </a:pPr>
            <a:r>
              <a:rPr lang="en-US" sz="1200" dirty="0"/>
              <a:t>IT Leadership</a:t>
            </a:r>
          </a:p>
        </p:txBody>
      </p:sp>
      <p:grpSp>
        <p:nvGrpSpPr>
          <p:cNvPr id="83" name="Group 82">
            <a:extLst>
              <a:ext uri="{FF2B5EF4-FFF2-40B4-BE49-F238E27FC236}">
                <a16:creationId xmlns:a16="http://schemas.microsoft.com/office/drawing/2014/main" xmlns="" id="{E69A71FD-791A-4CD8-AEAE-F54D3EE8B496}"/>
              </a:ext>
            </a:extLst>
          </p:cNvPr>
          <p:cNvGrpSpPr/>
          <p:nvPr/>
        </p:nvGrpSpPr>
        <p:grpSpPr bwMode="gray">
          <a:xfrm>
            <a:off x="2561915" y="1798027"/>
            <a:ext cx="5333361" cy="394088"/>
            <a:chOff x="2561915" y="1659697"/>
            <a:chExt cx="5333361" cy="394088"/>
          </a:xfrm>
        </p:grpSpPr>
        <p:grpSp>
          <p:nvGrpSpPr>
            <p:cNvPr id="82" name="Group 81">
              <a:extLst>
                <a:ext uri="{FF2B5EF4-FFF2-40B4-BE49-F238E27FC236}">
                  <a16:creationId xmlns:a16="http://schemas.microsoft.com/office/drawing/2014/main" xmlns="" id="{B86E051C-84B7-450B-A08C-ADB4167D0CE3}"/>
                </a:ext>
              </a:extLst>
            </p:cNvPr>
            <p:cNvGrpSpPr/>
            <p:nvPr/>
          </p:nvGrpSpPr>
          <p:grpSpPr bwMode="gray">
            <a:xfrm>
              <a:off x="2561915" y="1659697"/>
              <a:ext cx="3974260" cy="394088"/>
              <a:chOff x="2561915" y="1659697"/>
              <a:chExt cx="3974260" cy="394088"/>
            </a:xfrm>
          </p:grpSpPr>
          <p:sp>
            <p:nvSpPr>
              <p:cNvPr id="25" name="TextBox 24">
                <a:extLst>
                  <a:ext uri="{FF2B5EF4-FFF2-40B4-BE49-F238E27FC236}">
                    <a16:creationId xmlns:a16="http://schemas.microsoft.com/office/drawing/2014/main" xmlns="" id="{4D2F0CB3-7AC3-43B7-8E75-00D3F09D8E57}"/>
                  </a:ext>
                </a:extLst>
              </p:cNvPr>
              <p:cNvSpPr txBox="1"/>
              <p:nvPr/>
            </p:nvSpPr>
            <p:spPr bwMode="gray">
              <a:xfrm>
                <a:off x="2561915" y="1659697"/>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Infrastructure</a:t>
                </a:r>
              </a:p>
            </p:txBody>
          </p:sp>
          <p:sp>
            <p:nvSpPr>
              <p:cNvPr id="26" name="TextBox 25">
                <a:extLst>
                  <a:ext uri="{FF2B5EF4-FFF2-40B4-BE49-F238E27FC236}">
                    <a16:creationId xmlns:a16="http://schemas.microsoft.com/office/drawing/2014/main" xmlns="" id="{339CD179-C9B1-4776-B620-1506AB1BAEE0}"/>
                  </a:ext>
                </a:extLst>
              </p:cNvPr>
              <p:cNvSpPr txBox="1"/>
              <p:nvPr/>
            </p:nvSpPr>
            <p:spPr bwMode="gray">
              <a:xfrm>
                <a:off x="2561915" y="1856741"/>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Automation</a:t>
                </a:r>
              </a:p>
            </p:txBody>
          </p:sp>
          <p:sp>
            <p:nvSpPr>
              <p:cNvPr id="27" name="TextBox 26">
                <a:extLst>
                  <a:ext uri="{FF2B5EF4-FFF2-40B4-BE49-F238E27FC236}">
                    <a16:creationId xmlns:a16="http://schemas.microsoft.com/office/drawing/2014/main" xmlns="" id="{5EDA67E1-7D9D-41F1-8644-5400A8B34E6C}"/>
                  </a:ext>
                </a:extLst>
              </p:cNvPr>
              <p:cNvSpPr txBox="1"/>
              <p:nvPr/>
            </p:nvSpPr>
            <p:spPr bwMode="gray">
              <a:xfrm>
                <a:off x="3921017" y="1659697"/>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Software</a:t>
                </a:r>
              </a:p>
            </p:txBody>
          </p:sp>
          <p:sp>
            <p:nvSpPr>
              <p:cNvPr id="28" name="TextBox 27">
                <a:extLst>
                  <a:ext uri="{FF2B5EF4-FFF2-40B4-BE49-F238E27FC236}">
                    <a16:creationId xmlns:a16="http://schemas.microsoft.com/office/drawing/2014/main" xmlns="" id="{F5FE6B29-6F1E-4838-B298-DDEDE92B1CC3}"/>
                  </a:ext>
                </a:extLst>
              </p:cNvPr>
              <p:cNvSpPr txBox="1"/>
              <p:nvPr/>
            </p:nvSpPr>
            <p:spPr bwMode="gray">
              <a:xfrm>
                <a:off x="3921017" y="1856741"/>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QA/Test</a:t>
                </a:r>
              </a:p>
            </p:txBody>
          </p:sp>
          <p:sp>
            <p:nvSpPr>
              <p:cNvPr id="29" name="TextBox 28">
                <a:extLst>
                  <a:ext uri="{FF2B5EF4-FFF2-40B4-BE49-F238E27FC236}">
                    <a16:creationId xmlns:a16="http://schemas.microsoft.com/office/drawing/2014/main" xmlns="" id="{C88A61D1-D6EE-4C74-B617-744166DDA69D}"/>
                  </a:ext>
                </a:extLst>
              </p:cNvPr>
              <p:cNvSpPr txBox="1"/>
              <p:nvPr/>
            </p:nvSpPr>
            <p:spPr bwMode="gray">
              <a:xfrm>
                <a:off x="5280118" y="1659697"/>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Data</a:t>
                </a:r>
              </a:p>
            </p:txBody>
          </p:sp>
          <p:sp>
            <p:nvSpPr>
              <p:cNvPr id="30" name="TextBox 29">
                <a:extLst>
                  <a:ext uri="{FF2B5EF4-FFF2-40B4-BE49-F238E27FC236}">
                    <a16:creationId xmlns:a16="http://schemas.microsoft.com/office/drawing/2014/main" xmlns="" id="{A534C924-CE12-43D7-B208-4DCFF622BC00}"/>
                  </a:ext>
                </a:extLst>
              </p:cNvPr>
              <p:cNvSpPr txBox="1"/>
              <p:nvPr/>
            </p:nvSpPr>
            <p:spPr bwMode="gray">
              <a:xfrm>
                <a:off x="5280118" y="1856741"/>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Developer</a:t>
                </a:r>
              </a:p>
            </p:txBody>
          </p:sp>
        </p:grpSp>
        <p:sp>
          <p:nvSpPr>
            <p:cNvPr id="31" name="TextBox 30">
              <a:extLst>
                <a:ext uri="{FF2B5EF4-FFF2-40B4-BE49-F238E27FC236}">
                  <a16:creationId xmlns:a16="http://schemas.microsoft.com/office/drawing/2014/main" xmlns="" id="{D9211D88-B4FD-4785-B353-BDB2F70A2841}"/>
                </a:ext>
              </a:extLst>
            </p:cNvPr>
            <p:cNvSpPr txBox="1"/>
            <p:nvPr/>
          </p:nvSpPr>
          <p:spPr bwMode="gray">
            <a:xfrm>
              <a:off x="6639219" y="175821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Security</a:t>
              </a:r>
            </a:p>
          </p:txBody>
        </p:sp>
      </p:grpSp>
      <p:grpSp>
        <p:nvGrpSpPr>
          <p:cNvPr id="81" name="Group 80">
            <a:extLst>
              <a:ext uri="{FF2B5EF4-FFF2-40B4-BE49-F238E27FC236}">
                <a16:creationId xmlns:a16="http://schemas.microsoft.com/office/drawing/2014/main" xmlns="" id="{D80573A0-114C-4BDA-8101-0270B5D14343}"/>
              </a:ext>
            </a:extLst>
          </p:cNvPr>
          <p:cNvGrpSpPr/>
          <p:nvPr/>
        </p:nvGrpSpPr>
        <p:grpSpPr bwMode="gray">
          <a:xfrm>
            <a:off x="2561915" y="2291703"/>
            <a:ext cx="3974260" cy="374904"/>
            <a:chOff x="2561915" y="2158876"/>
            <a:chExt cx="3974260" cy="394088"/>
          </a:xfrm>
        </p:grpSpPr>
        <p:sp>
          <p:nvSpPr>
            <p:cNvPr id="32" name="TextBox 31">
              <a:extLst>
                <a:ext uri="{FF2B5EF4-FFF2-40B4-BE49-F238E27FC236}">
                  <a16:creationId xmlns:a16="http://schemas.microsoft.com/office/drawing/2014/main" xmlns="" id="{257A68B7-863B-43F5-BB84-549C2E654529}"/>
                </a:ext>
              </a:extLst>
            </p:cNvPr>
            <p:cNvSpPr txBox="1"/>
            <p:nvPr/>
          </p:nvSpPr>
          <p:spPr bwMode="gray">
            <a:xfrm>
              <a:off x="2561915" y="2158876"/>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Business</a:t>
              </a:r>
            </a:p>
          </p:txBody>
        </p:sp>
        <p:sp>
          <p:nvSpPr>
            <p:cNvPr id="33" name="TextBox 32">
              <a:extLst>
                <a:ext uri="{FF2B5EF4-FFF2-40B4-BE49-F238E27FC236}">
                  <a16:creationId xmlns:a16="http://schemas.microsoft.com/office/drawing/2014/main" xmlns="" id="{1182A371-5984-4724-9D45-BE702F73B70E}"/>
                </a:ext>
              </a:extLst>
            </p:cNvPr>
            <p:cNvSpPr txBox="1"/>
            <p:nvPr/>
          </p:nvSpPr>
          <p:spPr bwMode="gray">
            <a:xfrm>
              <a:off x="2561915" y="235592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Security</a:t>
              </a:r>
            </a:p>
          </p:txBody>
        </p:sp>
        <p:sp>
          <p:nvSpPr>
            <p:cNvPr id="34" name="TextBox 33">
              <a:extLst>
                <a:ext uri="{FF2B5EF4-FFF2-40B4-BE49-F238E27FC236}">
                  <a16:creationId xmlns:a16="http://schemas.microsoft.com/office/drawing/2014/main" xmlns="" id="{2320D0EC-17FF-4366-8EED-EE1236BCB496}"/>
                </a:ext>
              </a:extLst>
            </p:cNvPr>
            <p:cNvSpPr txBox="1"/>
            <p:nvPr/>
          </p:nvSpPr>
          <p:spPr bwMode="gray">
            <a:xfrm>
              <a:off x="3921017" y="2158876"/>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Data</a:t>
              </a:r>
            </a:p>
          </p:txBody>
        </p:sp>
        <p:sp>
          <p:nvSpPr>
            <p:cNvPr id="35" name="TextBox 34">
              <a:extLst>
                <a:ext uri="{FF2B5EF4-FFF2-40B4-BE49-F238E27FC236}">
                  <a16:creationId xmlns:a16="http://schemas.microsoft.com/office/drawing/2014/main" xmlns="" id="{A10C41B4-6BA2-4490-AC37-1C6025B655D5}"/>
                </a:ext>
              </a:extLst>
            </p:cNvPr>
            <p:cNvSpPr txBox="1"/>
            <p:nvPr/>
          </p:nvSpPr>
          <p:spPr bwMode="gray">
            <a:xfrm>
              <a:off x="3921017" y="235592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Data Science</a:t>
              </a:r>
            </a:p>
          </p:txBody>
        </p:sp>
        <p:sp>
          <p:nvSpPr>
            <p:cNvPr id="36" name="TextBox 35">
              <a:extLst>
                <a:ext uri="{FF2B5EF4-FFF2-40B4-BE49-F238E27FC236}">
                  <a16:creationId xmlns:a16="http://schemas.microsoft.com/office/drawing/2014/main" xmlns="" id="{71DBC158-86CA-451C-B6B8-4A68F4DD7647}"/>
                </a:ext>
              </a:extLst>
            </p:cNvPr>
            <p:cNvSpPr txBox="1"/>
            <p:nvPr/>
          </p:nvSpPr>
          <p:spPr bwMode="gray">
            <a:xfrm>
              <a:off x="5280118" y="2158876"/>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BI/Analytics</a:t>
              </a:r>
            </a:p>
          </p:txBody>
        </p:sp>
        <p:sp>
          <p:nvSpPr>
            <p:cNvPr id="37" name="TextBox 36">
              <a:extLst>
                <a:ext uri="{FF2B5EF4-FFF2-40B4-BE49-F238E27FC236}">
                  <a16:creationId xmlns:a16="http://schemas.microsoft.com/office/drawing/2014/main" xmlns="" id="{2D57887D-21D2-4C94-A3D2-F29C50E05183}"/>
                </a:ext>
              </a:extLst>
            </p:cNvPr>
            <p:cNvSpPr txBox="1"/>
            <p:nvPr/>
          </p:nvSpPr>
          <p:spPr bwMode="gray">
            <a:xfrm>
              <a:off x="5280118" y="235592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Data Modeler</a:t>
              </a:r>
            </a:p>
          </p:txBody>
        </p:sp>
      </p:grpSp>
      <p:sp>
        <p:nvSpPr>
          <p:cNvPr id="43" name="TextBox 42">
            <a:extLst>
              <a:ext uri="{FF2B5EF4-FFF2-40B4-BE49-F238E27FC236}">
                <a16:creationId xmlns:a16="http://schemas.microsoft.com/office/drawing/2014/main" xmlns="" id="{DA09A723-7A64-4A6A-8CF7-1B65BA6A36F9}"/>
              </a:ext>
            </a:extLst>
          </p:cNvPr>
          <p:cNvSpPr txBox="1"/>
          <p:nvPr/>
        </p:nvSpPr>
        <p:spPr bwMode="gray">
          <a:xfrm>
            <a:off x="2561915" y="5702227"/>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Manager</a:t>
            </a:r>
          </a:p>
        </p:txBody>
      </p:sp>
      <p:sp>
        <p:nvSpPr>
          <p:cNvPr id="44" name="TextBox 43">
            <a:extLst>
              <a:ext uri="{FF2B5EF4-FFF2-40B4-BE49-F238E27FC236}">
                <a16:creationId xmlns:a16="http://schemas.microsoft.com/office/drawing/2014/main" xmlns="" id="{4526468D-A97C-48DC-B50E-FA5B19DE6810}"/>
              </a:ext>
            </a:extLst>
          </p:cNvPr>
          <p:cNvSpPr txBox="1"/>
          <p:nvPr/>
        </p:nvSpPr>
        <p:spPr bwMode="gray">
          <a:xfrm>
            <a:off x="3921017" y="5702227"/>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Technical Principal</a:t>
            </a:r>
          </a:p>
        </p:txBody>
      </p:sp>
      <p:sp>
        <p:nvSpPr>
          <p:cNvPr id="45" name="TextBox 44">
            <a:extLst>
              <a:ext uri="{FF2B5EF4-FFF2-40B4-BE49-F238E27FC236}">
                <a16:creationId xmlns:a16="http://schemas.microsoft.com/office/drawing/2014/main" xmlns="" id="{7FABC1A7-55A6-4F7F-9CC2-AF0D39098B71}"/>
              </a:ext>
            </a:extLst>
          </p:cNvPr>
          <p:cNvSpPr txBox="1"/>
          <p:nvPr/>
        </p:nvSpPr>
        <p:spPr bwMode="gray">
          <a:xfrm>
            <a:off x="2561915" y="4753244"/>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UX Designer</a:t>
            </a:r>
          </a:p>
        </p:txBody>
      </p:sp>
      <p:sp>
        <p:nvSpPr>
          <p:cNvPr id="46" name="TextBox 45">
            <a:extLst>
              <a:ext uri="{FF2B5EF4-FFF2-40B4-BE49-F238E27FC236}">
                <a16:creationId xmlns:a16="http://schemas.microsoft.com/office/drawing/2014/main" xmlns="" id="{2BEBA19B-922B-4732-A2F4-F2611DBCEBEF}"/>
              </a:ext>
            </a:extLst>
          </p:cNvPr>
          <p:cNvSpPr txBox="1"/>
          <p:nvPr/>
        </p:nvSpPr>
        <p:spPr bwMode="gray">
          <a:xfrm>
            <a:off x="3921017" y="4753244"/>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Researcher</a:t>
            </a:r>
          </a:p>
        </p:txBody>
      </p:sp>
      <p:sp>
        <p:nvSpPr>
          <p:cNvPr id="47" name="TextBox 46">
            <a:extLst>
              <a:ext uri="{FF2B5EF4-FFF2-40B4-BE49-F238E27FC236}">
                <a16:creationId xmlns:a16="http://schemas.microsoft.com/office/drawing/2014/main" xmlns="" id="{9420200A-653B-481A-A296-8E78619C03DE}"/>
              </a:ext>
            </a:extLst>
          </p:cNvPr>
          <p:cNvSpPr txBox="1"/>
          <p:nvPr/>
        </p:nvSpPr>
        <p:spPr bwMode="gray">
          <a:xfrm>
            <a:off x="5280118" y="4753244"/>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Content Strategist</a:t>
            </a:r>
          </a:p>
        </p:txBody>
      </p:sp>
      <p:sp>
        <p:nvSpPr>
          <p:cNvPr id="48" name="TextBox 47">
            <a:extLst>
              <a:ext uri="{FF2B5EF4-FFF2-40B4-BE49-F238E27FC236}">
                <a16:creationId xmlns:a16="http://schemas.microsoft.com/office/drawing/2014/main" xmlns="" id="{08053C02-8D10-4105-8FC3-A69CAC6E7205}"/>
              </a:ext>
            </a:extLst>
          </p:cNvPr>
          <p:cNvSpPr txBox="1"/>
          <p:nvPr/>
        </p:nvSpPr>
        <p:spPr bwMode="gray">
          <a:xfrm>
            <a:off x="2561915" y="4278751"/>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Service Desk</a:t>
            </a:r>
          </a:p>
        </p:txBody>
      </p:sp>
      <p:sp>
        <p:nvSpPr>
          <p:cNvPr id="49" name="TextBox 48">
            <a:extLst>
              <a:ext uri="{FF2B5EF4-FFF2-40B4-BE49-F238E27FC236}">
                <a16:creationId xmlns:a16="http://schemas.microsoft.com/office/drawing/2014/main" xmlns="" id="{DD575C90-201B-4A73-983F-374DC0484BE1}"/>
              </a:ext>
            </a:extLst>
          </p:cNvPr>
          <p:cNvSpPr txBox="1"/>
          <p:nvPr/>
        </p:nvSpPr>
        <p:spPr bwMode="gray">
          <a:xfrm>
            <a:off x="3921017" y="4278751"/>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On-Site</a:t>
            </a:r>
          </a:p>
        </p:txBody>
      </p:sp>
      <p:sp>
        <p:nvSpPr>
          <p:cNvPr id="50" name="TextBox 49">
            <a:extLst>
              <a:ext uri="{FF2B5EF4-FFF2-40B4-BE49-F238E27FC236}">
                <a16:creationId xmlns:a16="http://schemas.microsoft.com/office/drawing/2014/main" xmlns="" id="{FE904B0F-9F4C-47B9-B850-C2C70F74ADE2}"/>
              </a:ext>
            </a:extLst>
          </p:cNvPr>
          <p:cNvSpPr txBox="1"/>
          <p:nvPr/>
        </p:nvSpPr>
        <p:spPr bwMode="gray">
          <a:xfrm>
            <a:off x="2561915" y="380425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Infrastructure</a:t>
            </a:r>
          </a:p>
        </p:txBody>
      </p:sp>
      <p:sp>
        <p:nvSpPr>
          <p:cNvPr id="51" name="TextBox 50">
            <a:extLst>
              <a:ext uri="{FF2B5EF4-FFF2-40B4-BE49-F238E27FC236}">
                <a16:creationId xmlns:a16="http://schemas.microsoft.com/office/drawing/2014/main" xmlns="" id="{6F90E350-50B9-4B49-BCF5-2E25F6ED53C4}"/>
              </a:ext>
            </a:extLst>
          </p:cNvPr>
          <p:cNvSpPr txBox="1"/>
          <p:nvPr/>
        </p:nvSpPr>
        <p:spPr bwMode="gray">
          <a:xfrm>
            <a:off x="3921017" y="380425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Security</a:t>
            </a:r>
          </a:p>
        </p:txBody>
      </p:sp>
      <p:sp>
        <p:nvSpPr>
          <p:cNvPr id="52" name="TextBox 51">
            <a:extLst>
              <a:ext uri="{FF2B5EF4-FFF2-40B4-BE49-F238E27FC236}">
                <a16:creationId xmlns:a16="http://schemas.microsoft.com/office/drawing/2014/main" xmlns="" id="{ADC01EE5-2D76-430E-9B7F-C5044E6B2F45}"/>
              </a:ext>
            </a:extLst>
          </p:cNvPr>
          <p:cNvSpPr txBox="1"/>
          <p:nvPr/>
        </p:nvSpPr>
        <p:spPr bwMode="gray">
          <a:xfrm>
            <a:off x="5280118" y="380425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ITSM</a:t>
            </a:r>
          </a:p>
        </p:txBody>
      </p:sp>
      <p:grpSp>
        <p:nvGrpSpPr>
          <p:cNvPr id="79" name="Group 78">
            <a:extLst>
              <a:ext uri="{FF2B5EF4-FFF2-40B4-BE49-F238E27FC236}">
                <a16:creationId xmlns:a16="http://schemas.microsoft.com/office/drawing/2014/main" xmlns="" id="{367E0DAD-3FDE-4BD9-9C6F-864634621506}"/>
              </a:ext>
            </a:extLst>
          </p:cNvPr>
          <p:cNvGrpSpPr/>
          <p:nvPr/>
        </p:nvGrpSpPr>
        <p:grpSpPr bwMode="gray">
          <a:xfrm>
            <a:off x="2561915" y="3240686"/>
            <a:ext cx="2615159" cy="374904"/>
            <a:chOff x="2561915" y="3157234"/>
            <a:chExt cx="2615159" cy="394089"/>
          </a:xfrm>
        </p:grpSpPr>
        <p:sp>
          <p:nvSpPr>
            <p:cNvPr id="53" name="TextBox 52">
              <a:extLst>
                <a:ext uri="{FF2B5EF4-FFF2-40B4-BE49-F238E27FC236}">
                  <a16:creationId xmlns:a16="http://schemas.microsoft.com/office/drawing/2014/main" xmlns="" id="{335FE1E9-99CE-4800-BC61-EB656BDD27A9}"/>
                </a:ext>
              </a:extLst>
            </p:cNvPr>
            <p:cNvSpPr txBox="1"/>
            <p:nvPr/>
          </p:nvSpPr>
          <p:spPr bwMode="gray">
            <a:xfrm>
              <a:off x="2561915" y="3157234"/>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Scrum Master</a:t>
              </a:r>
            </a:p>
          </p:txBody>
        </p:sp>
        <p:sp>
          <p:nvSpPr>
            <p:cNvPr id="54" name="TextBox 53">
              <a:extLst>
                <a:ext uri="{FF2B5EF4-FFF2-40B4-BE49-F238E27FC236}">
                  <a16:creationId xmlns:a16="http://schemas.microsoft.com/office/drawing/2014/main" xmlns="" id="{A40F0C63-1DCB-4781-917D-1BABCF130F78}"/>
                </a:ext>
              </a:extLst>
            </p:cNvPr>
            <p:cNvSpPr txBox="1"/>
            <p:nvPr/>
          </p:nvSpPr>
          <p:spPr bwMode="gray">
            <a:xfrm>
              <a:off x="2561915" y="335427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Resource Manager</a:t>
              </a:r>
            </a:p>
          </p:txBody>
        </p:sp>
        <p:sp>
          <p:nvSpPr>
            <p:cNvPr id="55" name="TextBox 54">
              <a:extLst>
                <a:ext uri="{FF2B5EF4-FFF2-40B4-BE49-F238E27FC236}">
                  <a16:creationId xmlns:a16="http://schemas.microsoft.com/office/drawing/2014/main" xmlns="" id="{9D004472-C0C9-4A1B-AD9B-A642C95105C2}"/>
                </a:ext>
              </a:extLst>
            </p:cNvPr>
            <p:cNvSpPr txBox="1"/>
            <p:nvPr/>
          </p:nvSpPr>
          <p:spPr bwMode="gray">
            <a:xfrm>
              <a:off x="3921017" y="3157234"/>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Project Manager</a:t>
              </a:r>
            </a:p>
          </p:txBody>
        </p:sp>
        <p:sp>
          <p:nvSpPr>
            <p:cNvPr id="56" name="TextBox 55">
              <a:extLst>
                <a:ext uri="{FF2B5EF4-FFF2-40B4-BE49-F238E27FC236}">
                  <a16:creationId xmlns:a16="http://schemas.microsoft.com/office/drawing/2014/main" xmlns="" id="{A981C585-2D12-4886-A5C1-736E600DAEDE}"/>
                </a:ext>
              </a:extLst>
            </p:cNvPr>
            <p:cNvSpPr txBox="1"/>
            <p:nvPr/>
          </p:nvSpPr>
          <p:spPr bwMode="gray">
            <a:xfrm>
              <a:off x="3921017" y="335427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Program Manager</a:t>
              </a:r>
            </a:p>
          </p:txBody>
        </p:sp>
      </p:grpSp>
      <p:grpSp>
        <p:nvGrpSpPr>
          <p:cNvPr id="80" name="Group 79">
            <a:extLst>
              <a:ext uri="{FF2B5EF4-FFF2-40B4-BE49-F238E27FC236}">
                <a16:creationId xmlns:a16="http://schemas.microsoft.com/office/drawing/2014/main" xmlns="" id="{2A599C62-5E00-43AA-BEFD-3D2E29A63518}"/>
              </a:ext>
            </a:extLst>
          </p:cNvPr>
          <p:cNvGrpSpPr/>
          <p:nvPr/>
        </p:nvGrpSpPr>
        <p:grpSpPr bwMode="gray">
          <a:xfrm>
            <a:off x="2561915" y="2766195"/>
            <a:ext cx="3974260" cy="374904"/>
            <a:chOff x="2561915" y="2658055"/>
            <a:chExt cx="3974260" cy="394089"/>
          </a:xfrm>
        </p:grpSpPr>
        <p:sp>
          <p:nvSpPr>
            <p:cNvPr id="38" name="TextBox 37">
              <a:extLst>
                <a:ext uri="{FF2B5EF4-FFF2-40B4-BE49-F238E27FC236}">
                  <a16:creationId xmlns:a16="http://schemas.microsoft.com/office/drawing/2014/main" xmlns="" id="{968AA950-901D-464E-AD10-4BC623B562FB}"/>
                </a:ext>
              </a:extLst>
            </p:cNvPr>
            <p:cNvSpPr txBox="1"/>
            <p:nvPr/>
          </p:nvSpPr>
          <p:spPr bwMode="gray">
            <a:xfrm>
              <a:off x="2561915" y="2658055"/>
              <a:ext cx="1256057" cy="197044"/>
            </a:xfrm>
            <a:prstGeom prst="rect">
              <a:avLst/>
            </a:prstGeom>
            <a:solidFill>
              <a:schemeClr val="bg2"/>
            </a:solidFill>
            <a:ln w="12700">
              <a:solidFill>
                <a:srgbClr val="D3D3D3"/>
              </a:solidFill>
              <a:prstDash val="solid"/>
            </a:ln>
          </p:spPr>
          <p:txBody>
            <a:bodyPr wrap="square" lIns="45720" tIns="45720" rIns="45720" bIns="45720" rtlCol="0" anchor="ctr">
              <a:noAutofit/>
            </a:bodyPr>
            <a:lstStyle/>
            <a:p>
              <a:pPr algn="ctr"/>
              <a:r>
                <a:rPr lang="en-US" sz="1050" dirty="0"/>
                <a:t>Product Manager</a:t>
              </a:r>
            </a:p>
          </p:txBody>
        </p:sp>
        <p:sp>
          <p:nvSpPr>
            <p:cNvPr id="39" name="TextBox 38">
              <a:extLst>
                <a:ext uri="{FF2B5EF4-FFF2-40B4-BE49-F238E27FC236}">
                  <a16:creationId xmlns:a16="http://schemas.microsoft.com/office/drawing/2014/main" xmlns="" id="{6B66668F-5271-4493-81E3-9F0E1CCCAAEB}"/>
                </a:ext>
              </a:extLst>
            </p:cNvPr>
            <p:cNvSpPr txBox="1"/>
            <p:nvPr/>
          </p:nvSpPr>
          <p:spPr bwMode="gray">
            <a:xfrm>
              <a:off x="2561915" y="285510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Platform Owner</a:t>
              </a:r>
            </a:p>
          </p:txBody>
        </p:sp>
        <p:sp>
          <p:nvSpPr>
            <p:cNvPr id="40" name="TextBox 39">
              <a:extLst>
                <a:ext uri="{FF2B5EF4-FFF2-40B4-BE49-F238E27FC236}">
                  <a16:creationId xmlns:a16="http://schemas.microsoft.com/office/drawing/2014/main" xmlns="" id="{1CBC587D-1A1A-4CA5-9307-9717B2EECF6D}"/>
                </a:ext>
              </a:extLst>
            </p:cNvPr>
            <p:cNvSpPr txBox="1"/>
            <p:nvPr/>
          </p:nvSpPr>
          <p:spPr bwMode="gray">
            <a:xfrm>
              <a:off x="3921017" y="2658055"/>
              <a:ext cx="1256057" cy="197044"/>
            </a:xfrm>
            <a:prstGeom prst="rect">
              <a:avLst/>
            </a:prstGeom>
            <a:solidFill>
              <a:schemeClr val="bg2"/>
            </a:solidFill>
            <a:ln w="12700">
              <a:solidFill>
                <a:srgbClr val="D3D3D3"/>
              </a:solidFill>
              <a:prstDash val="solid"/>
            </a:ln>
          </p:spPr>
          <p:txBody>
            <a:bodyPr wrap="square" lIns="45720" tIns="45720" rIns="45720" bIns="45720" rtlCol="0" anchor="ctr">
              <a:noAutofit/>
            </a:bodyPr>
            <a:lstStyle/>
            <a:p>
              <a:pPr algn="ctr"/>
              <a:r>
                <a:rPr lang="en-US" sz="1050" dirty="0"/>
                <a:t>Platform Manager</a:t>
              </a:r>
            </a:p>
          </p:txBody>
        </p:sp>
        <p:sp>
          <p:nvSpPr>
            <p:cNvPr id="41" name="TextBox 40">
              <a:extLst>
                <a:ext uri="{FF2B5EF4-FFF2-40B4-BE49-F238E27FC236}">
                  <a16:creationId xmlns:a16="http://schemas.microsoft.com/office/drawing/2014/main" xmlns="" id="{08523075-DB47-4B25-B12F-8E2B4F946242}"/>
                </a:ext>
              </a:extLst>
            </p:cNvPr>
            <p:cNvSpPr txBox="1"/>
            <p:nvPr/>
          </p:nvSpPr>
          <p:spPr bwMode="gray">
            <a:xfrm>
              <a:off x="3921017" y="285510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Portfolio Manager</a:t>
              </a:r>
            </a:p>
          </p:txBody>
        </p:sp>
        <p:sp>
          <p:nvSpPr>
            <p:cNvPr id="42" name="TextBox 41">
              <a:extLst>
                <a:ext uri="{FF2B5EF4-FFF2-40B4-BE49-F238E27FC236}">
                  <a16:creationId xmlns:a16="http://schemas.microsoft.com/office/drawing/2014/main" xmlns="" id="{B61ADD58-5FD4-45BD-8D83-FBCC9E34071F}"/>
                </a:ext>
              </a:extLst>
            </p:cNvPr>
            <p:cNvSpPr txBox="1"/>
            <p:nvPr/>
          </p:nvSpPr>
          <p:spPr bwMode="gray">
            <a:xfrm>
              <a:off x="5280118" y="2658055"/>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Product Owner</a:t>
              </a:r>
            </a:p>
          </p:txBody>
        </p:sp>
        <p:sp>
          <p:nvSpPr>
            <p:cNvPr id="63" name="TextBox 62">
              <a:extLst>
                <a:ext uri="{FF2B5EF4-FFF2-40B4-BE49-F238E27FC236}">
                  <a16:creationId xmlns:a16="http://schemas.microsoft.com/office/drawing/2014/main" xmlns="" id="{9FB5FE6B-3C70-429A-90A0-B8FD3A297664}"/>
                </a:ext>
              </a:extLst>
            </p:cNvPr>
            <p:cNvSpPr txBox="1"/>
            <p:nvPr/>
          </p:nvSpPr>
          <p:spPr bwMode="gray">
            <a:xfrm>
              <a:off x="5280118" y="285510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Service Owner</a:t>
              </a:r>
            </a:p>
          </p:txBody>
        </p:sp>
      </p:grpSp>
      <p:sp>
        <p:nvSpPr>
          <p:cNvPr id="64" name="TextBox 63">
            <a:extLst>
              <a:ext uri="{FF2B5EF4-FFF2-40B4-BE49-F238E27FC236}">
                <a16:creationId xmlns:a16="http://schemas.microsoft.com/office/drawing/2014/main" xmlns="" id="{1F9308B1-F9AA-42C8-89C2-996EECEB42EB}"/>
              </a:ext>
            </a:extLst>
          </p:cNvPr>
          <p:cNvSpPr txBox="1"/>
          <p:nvPr/>
        </p:nvSpPr>
        <p:spPr bwMode="gray">
          <a:xfrm>
            <a:off x="6639219" y="2855125"/>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BRM</a:t>
            </a:r>
          </a:p>
        </p:txBody>
      </p:sp>
      <p:sp>
        <p:nvSpPr>
          <p:cNvPr id="65" name="TextBox 64">
            <a:extLst>
              <a:ext uri="{FF2B5EF4-FFF2-40B4-BE49-F238E27FC236}">
                <a16:creationId xmlns:a16="http://schemas.microsoft.com/office/drawing/2014/main" xmlns="" id="{17AEDB8D-6199-4F6F-A613-702BF0C2C7FC}"/>
              </a:ext>
            </a:extLst>
          </p:cNvPr>
          <p:cNvSpPr txBox="1"/>
          <p:nvPr/>
        </p:nvSpPr>
        <p:spPr bwMode="gray">
          <a:xfrm>
            <a:off x="6639219" y="380425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DBA</a:t>
            </a:r>
          </a:p>
        </p:txBody>
      </p:sp>
      <p:sp>
        <p:nvSpPr>
          <p:cNvPr id="66" name="TextBox 65">
            <a:extLst>
              <a:ext uri="{FF2B5EF4-FFF2-40B4-BE49-F238E27FC236}">
                <a16:creationId xmlns:a16="http://schemas.microsoft.com/office/drawing/2014/main" xmlns="" id="{F66C88A1-B47B-4B48-998F-D48818C6D70E}"/>
              </a:ext>
            </a:extLst>
          </p:cNvPr>
          <p:cNvSpPr txBox="1"/>
          <p:nvPr/>
        </p:nvSpPr>
        <p:spPr bwMode="gray">
          <a:xfrm>
            <a:off x="5280118" y="3329616"/>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Coach</a:t>
            </a:r>
          </a:p>
        </p:txBody>
      </p:sp>
      <p:sp>
        <p:nvSpPr>
          <p:cNvPr id="18" name="TextBox 17">
            <a:extLst>
              <a:ext uri="{FF2B5EF4-FFF2-40B4-BE49-F238E27FC236}">
                <a16:creationId xmlns:a16="http://schemas.microsoft.com/office/drawing/2014/main" xmlns="" id="{B818A805-53F7-4F6A-A1ED-A55B5F7B076D}"/>
              </a:ext>
            </a:extLst>
          </p:cNvPr>
          <p:cNvSpPr txBox="1"/>
          <p:nvPr/>
        </p:nvSpPr>
        <p:spPr bwMode="gray">
          <a:xfrm>
            <a:off x="8115300" y="1372688"/>
            <a:ext cx="360655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b="1" dirty="0"/>
              <a:t>Domain</a:t>
            </a:r>
            <a:r>
              <a:rPr lang="en-US" sz="1000" dirty="0"/>
              <a:t>: Cloud Architect, Information Architect</a:t>
            </a:r>
          </a:p>
        </p:txBody>
      </p:sp>
      <p:sp>
        <p:nvSpPr>
          <p:cNvPr id="20" name="TextBox 19">
            <a:extLst>
              <a:ext uri="{FF2B5EF4-FFF2-40B4-BE49-F238E27FC236}">
                <a16:creationId xmlns:a16="http://schemas.microsoft.com/office/drawing/2014/main" xmlns="" id="{3646C102-252F-490A-B73C-F4673C9956D5}"/>
              </a:ext>
            </a:extLst>
          </p:cNvPr>
          <p:cNvSpPr txBox="1"/>
          <p:nvPr/>
        </p:nvSpPr>
        <p:spPr bwMode="gray">
          <a:xfrm>
            <a:off x="8115300" y="3774810"/>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b="1" dirty="0"/>
              <a:t>Infrastructure: </a:t>
            </a:r>
            <a:r>
              <a:rPr lang="en-US" sz="1000" dirty="0"/>
              <a:t>Network Administrator, Systems Administrator</a:t>
            </a:r>
          </a:p>
        </p:txBody>
      </p:sp>
      <p:sp>
        <p:nvSpPr>
          <p:cNvPr id="62" name="TextBox 61">
            <a:extLst>
              <a:ext uri="{FF2B5EF4-FFF2-40B4-BE49-F238E27FC236}">
                <a16:creationId xmlns:a16="http://schemas.microsoft.com/office/drawing/2014/main" xmlns="" id="{7BE81826-2768-49EC-A1A1-A36E1413A701}"/>
              </a:ext>
            </a:extLst>
          </p:cNvPr>
          <p:cNvSpPr txBox="1"/>
          <p:nvPr/>
        </p:nvSpPr>
        <p:spPr bwMode="gray">
          <a:xfrm>
            <a:off x="8115300" y="2351336"/>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b="1"/>
              <a:t>Business</a:t>
            </a:r>
            <a:r>
              <a:rPr lang="en-US" sz="1000" b="1" dirty="0"/>
              <a:t>: </a:t>
            </a:r>
            <a:r>
              <a:rPr lang="en-US" sz="1000"/>
              <a:t>Business Systems Analyst</a:t>
            </a:r>
            <a:r>
              <a:rPr lang="en-US" sz="1000" dirty="0"/>
              <a:t>, </a:t>
            </a:r>
            <a:r>
              <a:rPr lang="en-US" sz="1000"/>
              <a:t>Business Analyst </a:t>
            </a:r>
            <a:endParaRPr lang="en-US" sz="1000" dirty="0"/>
          </a:p>
        </p:txBody>
      </p:sp>
      <p:sp>
        <p:nvSpPr>
          <p:cNvPr id="67" name="TextBox 66">
            <a:extLst>
              <a:ext uri="{FF2B5EF4-FFF2-40B4-BE49-F238E27FC236}">
                <a16:creationId xmlns:a16="http://schemas.microsoft.com/office/drawing/2014/main" xmlns="" id="{A7F52009-C9EF-4389-91AE-F90B50B960A1}"/>
              </a:ext>
            </a:extLst>
          </p:cNvPr>
          <p:cNvSpPr txBox="1"/>
          <p:nvPr/>
        </p:nvSpPr>
        <p:spPr bwMode="gray">
          <a:xfrm>
            <a:off x="8115300" y="3300319"/>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b="1" dirty="0"/>
              <a:t>Coach: </a:t>
            </a:r>
            <a:r>
              <a:rPr lang="en-US" sz="1000" dirty="0"/>
              <a:t>Agile Coach, Lean Coach</a:t>
            </a:r>
          </a:p>
        </p:txBody>
      </p:sp>
      <p:sp>
        <p:nvSpPr>
          <p:cNvPr id="68" name="TextBox 67">
            <a:extLst>
              <a:ext uri="{FF2B5EF4-FFF2-40B4-BE49-F238E27FC236}">
                <a16:creationId xmlns:a16="http://schemas.microsoft.com/office/drawing/2014/main" xmlns="" id="{C4FD6417-D243-4146-8834-2184429848ED}"/>
              </a:ext>
            </a:extLst>
          </p:cNvPr>
          <p:cNvSpPr txBox="1"/>
          <p:nvPr/>
        </p:nvSpPr>
        <p:spPr bwMode="gray">
          <a:xfrm>
            <a:off x="8115300" y="2825828"/>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b="1"/>
              <a:t>Platform Manager</a:t>
            </a:r>
            <a:r>
              <a:rPr lang="en-US" sz="1000"/>
              <a:t>: CRM Platform Manager, Infrastructure Platform Manager</a:t>
            </a:r>
            <a:endParaRPr lang="en-US" sz="1000" dirty="0"/>
          </a:p>
        </p:txBody>
      </p:sp>
      <p:sp>
        <p:nvSpPr>
          <p:cNvPr id="69" name="TextBox 68">
            <a:extLst>
              <a:ext uri="{FF2B5EF4-FFF2-40B4-BE49-F238E27FC236}">
                <a16:creationId xmlns:a16="http://schemas.microsoft.com/office/drawing/2014/main" xmlns="" id="{9D7391AA-53C6-4D5D-A6D2-0FF521D0F1E9}"/>
              </a:ext>
            </a:extLst>
          </p:cNvPr>
          <p:cNvSpPr txBox="1"/>
          <p:nvPr/>
        </p:nvSpPr>
        <p:spPr bwMode="gray">
          <a:xfrm>
            <a:off x="8115300" y="4249302"/>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b="1" dirty="0"/>
              <a:t>On-Site: </a:t>
            </a:r>
            <a:r>
              <a:rPr lang="en-US" sz="1000" dirty="0"/>
              <a:t>Field Support Specialist, Client Technology Manager, Office Technology Manager, Multimedia Specialist</a:t>
            </a:r>
          </a:p>
        </p:txBody>
      </p:sp>
      <p:sp>
        <p:nvSpPr>
          <p:cNvPr id="70" name="TextBox 69">
            <a:extLst>
              <a:ext uri="{FF2B5EF4-FFF2-40B4-BE49-F238E27FC236}">
                <a16:creationId xmlns:a16="http://schemas.microsoft.com/office/drawing/2014/main" xmlns="" id="{DB4D2E74-38D3-4B93-A930-81A8422335DD}"/>
              </a:ext>
            </a:extLst>
          </p:cNvPr>
          <p:cNvSpPr txBox="1"/>
          <p:nvPr/>
        </p:nvSpPr>
        <p:spPr bwMode="gray">
          <a:xfrm>
            <a:off x="8115300" y="4723795"/>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dirty="0"/>
              <a:t>Job titles typically aligned to job series naming</a:t>
            </a:r>
          </a:p>
        </p:txBody>
      </p:sp>
      <p:sp>
        <p:nvSpPr>
          <p:cNvPr id="71" name="TextBox 70">
            <a:extLst>
              <a:ext uri="{FF2B5EF4-FFF2-40B4-BE49-F238E27FC236}">
                <a16:creationId xmlns:a16="http://schemas.microsoft.com/office/drawing/2014/main" xmlns="" id="{B847699F-57EB-402E-AD46-2111B36265FF}"/>
              </a:ext>
            </a:extLst>
          </p:cNvPr>
          <p:cNvSpPr txBox="1"/>
          <p:nvPr/>
        </p:nvSpPr>
        <p:spPr bwMode="gray">
          <a:xfrm>
            <a:off x="8115300" y="5198287"/>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dirty="0"/>
              <a:t>Job titles typically aligned to job series naming</a:t>
            </a:r>
          </a:p>
        </p:txBody>
      </p:sp>
      <p:sp>
        <p:nvSpPr>
          <p:cNvPr id="72" name="TextBox 71">
            <a:extLst>
              <a:ext uri="{FF2B5EF4-FFF2-40B4-BE49-F238E27FC236}">
                <a16:creationId xmlns:a16="http://schemas.microsoft.com/office/drawing/2014/main" xmlns="" id="{15253951-1AE6-41C0-B819-2E0096FB4EB9}"/>
              </a:ext>
            </a:extLst>
          </p:cNvPr>
          <p:cNvSpPr txBox="1"/>
          <p:nvPr/>
        </p:nvSpPr>
        <p:spPr bwMode="gray">
          <a:xfrm>
            <a:off x="8115300" y="5677356"/>
            <a:ext cx="3605243" cy="315271"/>
          </a:xfrm>
          <a:prstGeom prst="rect">
            <a:avLst/>
          </a:prstGeom>
          <a:noFill/>
          <a:ln w="12700">
            <a:solidFill>
              <a:srgbClr val="D3D3D3"/>
            </a:solidFill>
            <a:prstDash val="solid"/>
          </a:ln>
        </p:spPr>
        <p:txBody>
          <a:bodyPr wrap="square" lIns="45720" tIns="45720" rIns="45720" bIns="45720" rtlCol="0" anchor="ctr">
            <a:noAutofit/>
          </a:bodyPr>
          <a:lstStyle/>
          <a:p>
            <a:r>
              <a:rPr lang="en-US" sz="1000" dirty="0"/>
              <a:t>Job titles typically aligned to function and scope of responsibility</a:t>
            </a:r>
          </a:p>
        </p:txBody>
      </p:sp>
      <p:grpSp>
        <p:nvGrpSpPr>
          <p:cNvPr id="77" name="Group 76">
            <a:extLst>
              <a:ext uri="{FF2B5EF4-FFF2-40B4-BE49-F238E27FC236}">
                <a16:creationId xmlns:a16="http://schemas.microsoft.com/office/drawing/2014/main" xmlns="" id="{EE8997D2-2BFB-4B4C-B7CE-4DBA57BBB040}"/>
              </a:ext>
            </a:extLst>
          </p:cNvPr>
          <p:cNvGrpSpPr/>
          <p:nvPr/>
        </p:nvGrpSpPr>
        <p:grpSpPr bwMode="gray">
          <a:xfrm>
            <a:off x="2561915" y="5138959"/>
            <a:ext cx="3974260" cy="374904"/>
            <a:chOff x="2561915" y="5153951"/>
            <a:chExt cx="3974260" cy="394089"/>
          </a:xfrm>
        </p:grpSpPr>
        <p:sp>
          <p:nvSpPr>
            <p:cNvPr id="57" name="TextBox 56">
              <a:extLst>
                <a:ext uri="{FF2B5EF4-FFF2-40B4-BE49-F238E27FC236}">
                  <a16:creationId xmlns:a16="http://schemas.microsoft.com/office/drawing/2014/main" xmlns="" id="{7BCD20DA-8DF9-48B1-8FA4-8E4A6A060346}"/>
                </a:ext>
              </a:extLst>
            </p:cNvPr>
            <p:cNvSpPr txBox="1"/>
            <p:nvPr/>
          </p:nvSpPr>
          <p:spPr bwMode="gray">
            <a:xfrm>
              <a:off x="2561915" y="5153951"/>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Finance</a:t>
              </a:r>
            </a:p>
          </p:txBody>
        </p:sp>
        <p:sp>
          <p:nvSpPr>
            <p:cNvPr id="58" name="TextBox 57">
              <a:extLst>
                <a:ext uri="{FF2B5EF4-FFF2-40B4-BE49-F238E27FC236}">
                  <a16:creationId xmlns:a16="http://schemas.microsoft.com/office/drawing/2014/main" xmlns="" id="{DA7748F8-D066-40EB-8EC0-C17225384BDE}"/>
                </a:ext>
              </a:extLst>
            </p:cNvPr>
            <p:cNvSpPr txBox="1"/>
            <p:nvPr/>
          </p:nvSpPr>
          <p:spPr bwMode="gray">
            <a:xfrm>
              <a:off x="2561915" y="5350996"/>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Knowledge Mgmt.</a:t>
              </a:r>
            </a:p>
          </p:txBody>
        </p:sp>
        <p:sp>
          <p:nvSpPr>
            <p:cNvPr id="59" name="TextBox 58">
              <a:extLst>
                <a:ext uri="{FF2B5EF4-FFF2-40B4-BE49-F238E27FC236}">
                  <a16:creationId xmlns:a16="http://schemas.microsoft.com/office/drawing/2014/main" xmlns="" id="{25A49BD8-BB2B-49C2-9BE9-AC6C4520A07D}"/>
                </a:ext>
              </a:extLst>
            </p:cNvPr>
            <p:cNvSpPr txBox="1"/>
            <p:nvPr/>
          </p:nvSpPr>
          <p:spPr bwMode="gray">
            <a:xfrm>
              <a:off x="3921017" y="5153951"/>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Vendor Mgmt.</a:t>
              </a:r>
            </a:p>
          </p:txBody>
        </p:sp>
        <p:sp>
          <p:nvSpPr>
            <p:cNvPr id="60" name="TextBox 59">
              <a:extLst>
                <a:ext uri="{FF2B5EF4-FFF2-40B4-BE49-F238E27FC236}">
                  <a16:creationId xmlns:a16="http://schemas.microsoft.com/office/drawing/2014/main" xmlns="" id="{440C4E6C-8BAC-406F-922A-574CD5F13E33}"/>
                </a:ext>
              </a:extLst>
            </p:cNvPr>
            <p:cNvSpPr txBox="1"/>
            <p:nvPr/>
          </p:nvSpPr>
          <p:spPr bwMode="gray">
            <a:xfrm>
              <a:off x="3921017" y="5350996"/>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Sourcing/Prcmt.</a:t>
              </a:r>
            </a:p>
          </p:txBody>
        </p:sp>
        <p:sp>
          <p:nvSpPr>
            <p:cNvPr id="61" name="TextBox 60">
              <a:extLst>
                <a:ext uri="{FF2B5EF4-FFF2-40B4-BE49-F238E27FC236}">
                  <a16:creationId xmlns:a16="http://schemas.microsoft.com/office/drawing/2014/main" xmlns="" id="{9B4C03A5-87DB-4F52-9B91-C016BAA0F639}"/>
                </a:ext>
              </a:extLst>
            </p:cNvPr>
            <p:cNvSpPr txBox="1"/>
            <p:nvPr/>
          </p:nvSpPr>
          <p:spPr bwMode="gray">
            <a:xfrm>
              <a:off x="5280118" y="5153951"/>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Communications</a:t>
              </a:r>
            </a:p>
          </p:txBody>
        </p:sp>
        <p:sp>
          <p:nvSpPr>
            <p:cNvPr id="73" name="TextBox 72">
              <a:extLst>
                <a:ext uri="{FF2B5EF4-FFF2-40B4-BE49-F238E27FC236}">
                  <a16:creationId xmlns:a16="http://schemas.microsoft.com/office/drawing/2014/main" xmlns="" id="{BF11E15A-DC78-4C72-896B-1F29A50EB9A5}"/>
                </a:ext>
              </a:extLst>
            </p:cNvPr>
            <p:cNvSpPr txBox="1"/>
            <p:nvPr/>
          </p:nvSpPr>
          <p:spPr bwMode="gray">
            <a:xfrm>
              <a:off x="5280118" y="5350996"/>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Org Change Mgmt.</a:t>
              </a:r>
            </a:p>
          </p:txBody>
        </p:sp>
      </p:grpSp>
      <p:sp>
        <p:nvSpPr>
          <p:cNvPr id="74" name="TextBox 73">
            <a:extLst>
              <a:ext uri="{FF2B5EF4-FFF2-40B4-BE49-F238E27FC236}">
                <a16:creationId xmlns:a16="http://schemas.microsoft.com/office/drawing/2014/main" xmlns="" id="{5DBF5EEB-11ED-4A62-856B-E1271E294404}"/>
              </a:ext>
            </a:extLst>
          </p:cNvPr>
          <p:cNvSpPr txBox="1"/>
          <p:nvPr/>
        </p:nvSpPr>
        <p:spPr bwMode="gray">
          <a:xfrm>
            <a:off x="6639218" y="5232685"/>
            <a:ext cx="1256057" cy="187452"/>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Training Mgmt.</a:t>
            </a:r>
          </a:p>
        </p:txBody>
      </p:sp>
      <p:grpSp>
        <p:nvGrpSpPr>
          <p:cNvPr id="84" name="Group 83">
            <a:extLst>
              <a:ext uri="{FF2B5EF4-FFF2-40B4-BE49-F238E27FC236}">
                <a16:creationId xmlns:a16="http://schemas.microsoft.com/office/drawing/2014/main" xmlns="" id="{03353DE1-2EBB-4608-89BA-C1B8ADF22C84}"/>
              </a:ext>
            </a:extLst>
          </p:cNvPr>
          <p:cNvGrpSpPr/>
          <p:nvPr/>
        </p:nvGrpSpPr>
        <p:grpSpPr bwMode="gray">
          <a:xfrm>
            <a:off x="2561915" y="1431801"/>
            <a:ext cx="5339023" cy="197045"/>
            <a:chOff x="2561915" y="1259039"/>
            <a:chExt cx="5339023" cy="197045"/>
          </a:xfrm>
        </p:grpSpPr>
        <p:sp>
          <p:nvSpPr>
            <p:cNvPr id="22" name="TextBox 21">
              <a:extLst>
                <a:ext uri="{FF2B5EF4-FFF2-40B4-BE49-F238E27FC236}">
                  <a16:creationId xmlns:a16="http://schemas.microsoft.com/office/drawing/2014/main" xmlns="" id="{4704BF1B-C0C8-4C36-8B65-1A5C673C7AC0}"/>
                </a:ext>
              </a:extLst>
            </p:cNvPr>
            <p:cNvSpPr txBox="1"/>
            <p:nvPr/>
          </p:nvSpPr>
          <p:spPr bwMode="gray">
            <a:xfrm>
              <a:off x="2561915" y="125904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Enterprise</a:t>
              </a:r>
            </a:p>
          </p:txBody>
        </p:sp>
        <p:sp>
          <p:nvSpPr>
            <p:cNvPr id="23" name="TextBox 22">
              <a:extLst>
                <a:ext uri="{FF2B5EF4-FFF2-40B4-BE49-F238E27FC236}">
                  <a16:creationId xmlns:a16="http://schemas.microsoft.com/office/drawing/2014/main" xmlns="" id="{EA364B7B-3B5A-442E-B080-1B001BAC787C}"/>
                </a:ext>
              </a:extLst>
            </p:cNvPr>
            <p:cNvSpPr txBox="1"/>
            <p:nvPr/>
          </p:nvSpPr>
          <p:spPr bwMode="gray">
            <a:xfrm>
              <a:off x="3921018" y="125904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Solution</a:t>
              </a:r>
            </a:p>
          </p:txBody>
        </p:sp>
        <p:sp>
          <p:nvSpPr>
            <p:cNvPr id="24" name="TextBox 23">
              <a:extLst>
                <a:ext uri="{FF2B5EF4-FFF2-40B4-BE49-F238E27FC236}">
                  <a16:creationId xmlns:a16="http://schemas.microsoft.com/office/drawing/2014/main" xmlns="" id="{5AF163EC-90F5-418A-B07F-0F51C325F3B9}"/>
                </a:ext>
              </a:extLst>
            </p:cNvPr>
            <p:cNvSpPr txBox="1"/>
            <p:nvPr/>
          </p:nvSpPr>
          <p:spPr bwMode="gray">
            <a:xfrm>
              <a:off x="5280118" y="1259040"/>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Domain</a:t>
              </a:r>
            </a:p>
          </p:txBody>
        </p:sp>
        <p:sp>
          <p:nvSpPr>
            <p:cNvPr id="75" name="TextBox 74">
              <a:extLst>
                <a:ext uri="{FF2B5EF4-FFF2-40B4-BE49-F238E27FC236}">
                  <a16:creationId xmlns:a16="http://schemas.microsoft.com/office/drawing/2014/main" xmlns="" id="{EA31546D-DB64-437B-9B58-97D6E7472B80}"/>
                </a:ext>
              </a:extLst>
            </p:cNvPr>
            <p:cNvSpPr txBox="1"/>
            <p:nvPr/>
          </p:nvSpPr>
          <p:spPr bwMode="gray">
            <a:xfrm>
              <a:off x="6644881" y="1259039"/>
              <a:ext cx="1256057" cy="197044"/>
            </a:xfrm>
            <a:prstGeom prst="rect">
              <a:avLst/>
            </a:prstGeom>
            <a:noFill/>
            <a:ln w="12700">
              <a:solidFill>
                <a:srgbClr val="D3D3D3"/>
              </a:solidFill>
              <a:prstDash val="solid"/>
            </a:ln>
          </p:spPr>
          <p:txBody>
            <a:bodyPr wrap="square" lIns="45720" tIns="45720" rIns="45720" bIns="45720" rtlCol="0" anchor="ctr">
              <a:noAutofit/>
            </a:bodyPr>
            <a:lstStyle/>
            <a:p>
              <a:pPr algn="ctr"/>
              <a:r>
                <a:rPr lang="en-US" sz="1050" dirty="0"/>
                <a:t>Business</a:t>
              </a:r>
            </a:p>
          </p:txBody>
        </p:sp>
      </p:grpSp>
    </p:spTree>
    <p:extLst>
      <p:ext uri="{BB962C8B-B14F-4D97-AF65-F5344CB8AC3E}">
        <p14:creationId xmlns:p14="http://schemas.microsoft.com/office/powerpoint/2010/main" val="4638574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CEFFF9C5-EE6D-4AD0-805E-8656F00C3565}"/>
              </a:ext>
            </a:extLst>
          </p:cNvPr>
          <p:cNvGraphicFramePr>
            <a:graphicFrameLocks noChangeAspect="1"/>
          </p:cNvGraphicFramePr>
          <p:nvPr>
            <p:custDataLst>
              <p:tags r:id="rId2"/>
            </p:custDataLst>
            <p:extLst>
              <p:ext uri="{D42A27DB-BD31-4B8C-83A1-F6EECF244321}">
                <p14:modId xmlns:p14="http://schemas.microsoft.com/office/powerpoint/2010/main" val="854611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6"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xmlns="" id="{CEFFF9C5-EE6D-4AD0-805E-8656F00C356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8125AA73-1860-452B-9A92-3276E40256AA}"/>
              </a:ext>
            </a:extLst>
          </p:cNvPr>
          <p:cNvSpPr>
            <a:spLocks noGrp="1"/>
          </p:cNvSpPr>
          <p:nvPr>
            <p:ph type="title"/>
          </p:nvPr>
        </p:nvSpPr>
        <p:spPr bwMode="gray"/>
        <p:txBody>
          <a:bodyPr vert="horz"/>
          <a:lstStyle/>
          <a:p>
            <a:r>
              <a:rPr lang="en-US" dirty="0"/>
              <a:t>Job Family Descriptions</a:t>
            </a:r>
          </a:p>
        </p:txBody>
      </p:sp>
      <p:sp>
        <p:nvSpPr>
          <p:cNvPr id="22" name="TextBox 21">
            <a:extLst>
              <a:ext uri="{FF2B5EF4-FFF2-40B4-BE49-F238E27FC236}">
                <a16:creationId xmlns:a16="http://schemas.microsoft.com/office/drawing/2014/main" xmlns="" id="{0992A752-A4C4-45F8-926B-A40002C48CDC}"/>
              </a:ext>
            </a:extLst>
          </p:cNvPr>
          <p:cNvSpPr txBox="1"/>
          <p:nvPr/>
        </p:nvSpPr>
        <p:spPr bwMode="gray">
          <a:xfrm>
            <a:off x="2646948" y="760250"/>
            <a:ext cx="9086265" cy="307777"/>
          </a:xfrm>
          <a:prstGeom prst="rect">
            <a:avLst/>
          </a:prstGeom>
          <a:solidFill>
            <a:schemeClr val="tx2"/>
          </a:solidFill>
        </p:spPr>
        <p:txBody>
          <a:bodyPr wrap="square" lIns="0" rtlCol="0" anchor="ctr">
            <a:spAutoFit/>
          </a:bodyPr>
          <a:lstStyle/>
          <a:p>
            <a:pPr algn="ctr"/>
            <a:r>
              <a:rPr lang="en-US" sz="1400" b="1" dirty="0">
                <a:solidFill>
                  <a:schemeClr val="bg1"/>
                </a:solidFill>
                <a:latin typeface="+mj-lt"/>
                <a:cs typeface="Calibri" panose="020F0502020204030204" pitchFamily="34" charset="0"/>
              </a:rPr>
              <a:t>Descriptions</a:t>
            </a:r>
          </a:p>
        </p:txBody>
      </p:sp>
      <p:sp>
        <p:nvSpPr>
          <p:cNvPr id="7" name="Rectangle 6">
            <a:extLst>
              <a:ext uri="{FF2B5EF4-FFF2-40B4-BE49-F238E27FC236}">
                <a16:creationId xmlns:a16="http://schemas.microsoft.com/office/drawing/2014/main" xmlns="" id="{BD6DB037-C676-4DF2-9002-42C03E8D22D4}"/>
              </a:ext>
            </a:extLst>
          </p:cNvPr>
          <p:cNvSpPr/>
          <p:nvPr/>
        </p:nvSpPr>
        <p:spPr bwMode="gray">
          <a:xfrm>
            <a:off x="2646946" y="1152646"/>
            <a:ext cx="9089138" cy="457200"/>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r>
              <a:rPr lang="en-US" sz="1100" dirty="0">
                <a:solidFill>
                  <a:schemeClr val="tx1"/>
                </a:solidFill>
                <a:cs typeface="Calibri" panose="020F0502020204030204" pitchFamily="34" charset="0"/>
              </a:rPr>
              <a:t>Architects develop technology strategy, vision and roadmaps; select specific technologies; develop adaptable governance; provide conceptual designs of the technology environment; and create high-level solution designs that ensure adaptability, resilience and composability</a:t>
            </a:r>
          </a:p>
        </p:txBody>
      </p:sp>
      <p:sp>
        <p:nvSpPr>
          <p:cNvPr id="9" name="Rectangle 8">
            <a:extLst>
              <a:ext uri="{FF2B5EF4-FFF2-40B4-BE49-F238E27FC236}">
                <a16:creationId xmlns:a16="http://schemas.microsoft.com/office/drawing/2014/main" xmlns="" id="{23ADCB0D-3305-4E4F-9FCE-274C7AF38EA8}"/>
              </a:ext>
            </a:extLst>
          </p:cNvPr>
          <p:cNvSpPr/>
          <p:nvPr/>
        </p:nvSpPr>
        <p:spPr bwMode="gray">
          <a:xfrm>
            <a:off x="2646948" y="1646202"/>
            <a:ext cx="9089138" cy="457200"/>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r>
              <a:rPr lang="en-US" sz="1100" dirty="0">
                <a:solidFill>
                  <a:schemeClr val="tx1"/>
                </a:solidFill>
                <a:cs typeface="Calibri" panose="020F0502020204030204" pitchFamily="34" charset="0"/>
              </a:rPr>
              <a:t>Engineers design, build, test, deploy, and support IT products, services and/or solutions</a:t>
            </a:r>
          </a:p>
        </p:txBody>
      </p:sp>
      <p:sp>
        <p:nvSpPr>
          <p:cNvPr id="11" name="Rectangle 10">
            <a:extLst>
              <a:ext uri="{FF2B5EF4-FFF2-40B4-BE49-F238E27FC236}">
                <a16:creationId xmlns:a16="http://schemas.microsoft.com/office/drawing/2014/main" xmlns="" id="{581DB31E-897A-41E1-8764-E9AEF50D5E97}"/>
              </a:ext>
            </a:extLst>
          </p:cNvPr>
          <p:cNvSpPr/>
          <p:nvPr/>
        </p:nvSpPr>
        <p:spPr bwMode="gray">
          <a:xfrm>
            <a:off x="2646948" y="2139758"/>
            <a:ext cx="9089138" cy="457200"/>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r>
              <a:rPr lang="en-US" sz="1100" dirty="0">
                <a:solidFill>
                  <a:schemeClr val="tx1"/>
                </a:solidFill>
                <a:cs typeface="Calibri" panose="020F0502020204030204" pitchFamily="34" charset="0"/>
              </a:rPr>
              <a:t>Analysts work with business and IT stakeholders to identify and define needs/issues, document requirements, solve problems with fact-based analysis, and provide recommendations</a:t>
            </a:r>
          </a:p>
        </p:txBody>
      </p:sp>
      <p:sp>
        <p:nvSpPr>
          <p:cNvPr id="13" name="Rectangle 12">
            <a:extLst>
              <a:ext uri="{FF2B5EF4-FFF2-40B4-BE49-F238E27FC236}">
                <a16:creationId xmlns:a16="http://schemas.microsoft.com/office/drawing/2014/main" xmlns="" id="{98FB6398-DF5F-46EF-BFCA-5D8A6DF32585}"/>
              </a:ext>
            </a:extLst>
          </p:cNvPr>
          <p:cNvSpPr/>
          <p:nvPr/>
        </p:nvSpPr>
        <p:spPr bwMode="gray">
          <a:xfrm>
            <a:off x="2646948" y="2633314"/>
            <a:ext cx="9089138" cy="457200"/>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r>
              <a:rPr lang="en-US" sz="1100" dirty="0">
                <a:solidFill>
                  <a:schemeClr val="tx1"/>
                </a:solidFill>
                <a:cs typeface="Calibri" panose="020F0502020204030204" pitchFamily="34" charset="0"/>
              </a:rPr>
              <a:t>Product and platform owners work directly with business stakeholders to shape demand and strategize on opportunities, oversee the ongoing development and delivery IT products and platforms, and ensure the achievement of business outcomes and value</a:t>
            </a:r>
          </a:p>
        </p:txBody>
      </p:sp>
      <p:sp>
        <p:nvSpPr>
          <p:cNvPr id="15" name="Rectangle 14">
            <a:extLst>
              <a:ext uri="{FF2B5EF4-FFF2-40B4-BE49-F238E27FC236}">
                <a16:creationId xmlns:a16="http://schemas.microsoft.com/office/drawing/2014/main" xmlns="" id="{52272DDD-D4D4-440E-AE44-375BF52A4A19}"/>
              </a:ext>
            </a:extLst>
          </p:cNvPr>
          <p:cNvSpPr/>
          <p:nvPr/>
        </p:nvSpPr>
        <p:spPr bwMode="gray">
          <a:xfrm>
            <a:off x="2646948" y="3126870"/>
            <a:ext cx="9089138" cy="457200"/>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r>
              <a:rPr lang="en-US" sz="1100" dirty="0">
                <a:solidFill>
                  <a:schemeClr val="tx1"/>
                </a:solidFill>
                <a:cs typeface="Calibri" panose="020F0502020204030204" pitchFamily="34" charset="0"/>
              </a:rPr>
              <a:t>The delivery family is responsible for managing and optimizing initiatives and related process (e.g., Scrum) to achieve specific outcomes and goals</a:t>
            </a:r>
          </a:p>
        </p:txBody>
      </p:sp>
      <p:sp>
        <p:nvSpPr>
          <p:cNvPr id="17" name="Rectangle 16">
            <a:extLst>
              <a:ext uri="{FF2B5EF4-FFF2-40B4-BE49-F238E27FC236}">
                <a16:creationId xmlns:a16="http://schemas.microsoft.com/office/drawing/2014/main" xmlns="" id="{444E2AD7-0D57-440E-9337-86FA34C5F8FE}"/>
              </a:ext>
            </a:extLst>
          </p:cNvPr>
          <p:cNvSpPr/>
          <p:nvPr/>
        </p:nvSpPr>
        <p:spPr bwMode="gray">
          <a:xfrm>
            <a:off x="2646948" y="3620426"/>
            <a:ext cx="9089138" cy="457200"/>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r>
              <a:rPr lang="en-US" sz="1100" dirty="0">
                <a:solidFill>
                  <a:schemeClr val="tx1"/>
                </a:solidFill>
                <a:cs typeface="Calibri" panose="020F0502020204030204" pitchFamily="34" charset="0"/>
              </a:rPr>
              <a:t>Technical administrators configure, run, and maintain software and hardware in the IT operating environment</a:t>
            </a:r>
          </a:p>
        </p:txBody>
      </p:sp>
      <p:sp>
        <p:nvSpPr>
          <p:cNvPr id="19" name="Rectangle 18">
            <a:extLst>
              <a:ext uri="{FF2B5EF4-FFF2-40B4-BE49-F238E27FC236}">
                <a16:creationId xmlns:a16="http://schemas.microsoft.com/office/drawing/2014/main" xmlns="" id="{4956A42C-9EC7-463F-8FA2-1E33AF63CC06}"/>
              </a:ext>
            </a:extLst>
          </p:cNvPr>
          <p:cNvSpPr/>
          <p:nvPr/>
        </p:nvSpPr>
        <p:spPr bwMode="gray">
          <a:xfrm>
            <a:off x="2646948" y="4607538"/>
            <a:ext cx="9089138" cy="457200"/>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r>
              <a:rPr lang="en-US" sz="1100" dirty="0">
                <a:solidFill>
                  <a:schemeClr val="tx1"/>
                </a:solidFill>
                <a:cs typeface="Calibri" panose="020F0502020204030204" pitchFamily="34" charset="0"/>
              </a:rPr>
              <a:t>Technical support specialists interact with end users to provide technical support and are responsible for the end-to-end resolution of incidents and problems</a:t>
            </a:r>
          </a:p>
        </p:txBody>
      </p:sp>
      <p:sp>
        <p:nvSpPr>
          <p:cNvPr id="21" name="Rectangle 20">
            <a:extLst>
              <a:ext uri="{FF2B5EF4-FFF2-40B4-BE49-F238E27FC236}">
                <a16:creationId xmlns:a16="http://schemas.microsoft.com/office/drawing/2014/main" xmlns="" id="{553D7E42-D5F2-4152-85BC-3044AA9AB53E}"/>
              </a:ext>
            </a:extLst>
          </p:cNvPr>
          <p:cNvSpPr/>
          <p:nvPr/>
        </p:nvSpPr>
        <p:spPr bwMode="gray">
          <a:xfrm>
            <a:off x="2646948" y="4113982"/>
            <a:ext cx="9089138" cy="457200"/>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r>
              <a:rPr lang="en-US" sz="1100" dirty="0">
                <a:solidFill>
                  <a:schemeClr val="tx1"/>
                </a:solidFill>
                <a:cs typeface="Calibri" panose="020F0502020204030204" pitchFamily="34" charset="0"/>
              </a:rPr>
              <a:t>The UX family functions as an internal agency with accountability for performing user research, developing product strategies, and optimizing the user experience functionally, textually, and visually in an effort to ensure high-quality experiences as well as ongoing innovation</a:t>
            </a:r>
          </a:p>
        </p:txBody>
      </p:sp>
      <p:sp>
        <p:nvSpPr>
          <p:cNvPr id="24" name="Rectangle 23">
            <a:extLst>
              <a:ext uri="{FF2B5EF4-FFF2-40B4-BE49-F238E27FC236}">
                <a16:creationId xmlns:a16="http://schemas.microsoft.com/office/drawing/2014/main" xmlns="" id="{8F60C0AA-7E9E-49E0-9EA0-F7C5EDB0C1DF}"/>
              </a:ext>
            </a:extLst>
          </p:cNvPr>
          <p:cNvSpPr/>
          <p:nvPr/>
        </p:nvSpPr>
        <p:spPr bwMode="gray">
          <a:xfrm>
            <a:off x="2646948" y="5101094"/>
            <a:ext cx="9089138" cy="457200"/>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r>
              <a:rPr lang="en-US" sz="1100" dirty="0">
                <a:solidFill>
                  <a:schemeClr val="tx1"/>
                </a:solidFill>
                <a:cs typeface="Calibri" panose="020F0502020204030204" pitchFamily="34" charset="0"/>
              </a:rPr>
              <a:t>IT functional support staff create best-in-class structures, processes, and plans that allow for optimum performance of running IT like a Business</a:t>
            </a:r>
          </a:p>
        </p:txBody>
      </p:sp>
      <p:sp>
        <p:nvSpPr>
          <p:cNvPr id="26" name="Rectangle 25">
            <a:extLst>
              <a:ext uri="{FF2B5EF4-FFF2-40B4-BE49-F238E27FC236}">
                <a16:creationId xmlns:a16="http://schemas.microsoft.com/office/drawing/2014/main" xmlns="" id="{163CE412-08BD-4AEE-A6C9-ED0D687D5384}"/>
              </a:ext>
            </a:extLst>
          </p:cNvPr>
          <p:cNvSpPr/>
          <p:nvPr/>
        </p:nvSpPr>
        <p:spPr bwMode="gray">
          <a:xfrm>
            <a:off x="2646948" y="5594649"/>
            <a:ext cx="9089138" cy="457200"/>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r>
              <a:rPr lang="en-US" sz="1100" dirty="0">
                <a:solidFill>
                  <a:schemeClr val="tx1"/>
                </a:solidFill>
                <a:cs typeface="Calibri" panose="020F0502020204030204" pitchFamily="34" charset="0"/>
              </a:rPr>
              <a:t>Leaders oversee the identification, prioritization, and delivery of work activities; coach and develop employees; provide thought leadership to business partners; and shape and execute the technology vision and strategy to maximize business value</a:t>
            </a:r>
          </a:p>
        </p:txBody>
      </p:sp>
      <p:sp>
        <p:nvSpPr>
          <p:cNvPr id="5" name="TextBox 4">
            <a:extLst>
              <a:ext uri="{FF2B5EF4-FFF2-40B4-BE49-F238E27FC236}">
                <a16:creationId xmlns:a16="http://schemas.microsoft.com/office/drawing/2014/main" xmlns="" id="{8C5D1171-93A1-403D-91A8-C6FE1EB66F3A}"/>
              </a:ext>
            </a:extLst>
          </p:cNvPr>
          <p:cNvSpPr txBox="1"/>
          <p:nvPr/>
        </p:nvSpPr>
        <p:spPr bwMode="gray">
          <a:xfrm>
            <a:off x="457200" y="760250"/>
            <a:ext cx="2101974" cy="286232"/>
          </a:xfrm>
          <a:prstGeom prst="rect">
            <a:avLst/>
          </a:prstGeom>
          <a:solidFill>
            <a:srgbClr val="002856"/>
          </a:solidFill>
        </p:spPr>
        <p:txBody>
          <a:bodyPr wrap="square" lIns="0" rtlCol="0" anchor="ctr">
            <a:spAutoFit/>
          </a:bodyPr>
          <a:lstStyle/>
          <a:p>
            <a:pPr algn="ctr">
              <a:lnSpc>
                <a:spcPct val="90000"/>
              </a:lnSpc>
            </a:pPr>
            <a:r>
              <a:rPr lang="en-US" sz="1400" b="1" dirty="0">
                <a:solidFill>
                  <a:schemeClr val="bg1"/>
                </a:solidFill>
                <a:latin typeface="+mj-lt"/>
                <a:cs typeface="Calibri" panose="020F0502020204030204" pitchFamily="34" charset="0"/>
              </a:rPr>
              <a:t>Job Families</a:t>
            </a:r>
          </a:p>
        </p:txBody>
      </p:sp>
      <p:sp>
        <p:nvSpPr>
          <p:cNvPr id="6" name="Rounded Rectangle 41">
            <a:extLst>
              <a:ext uri="{FF2B5EF4-FFF2-40B4-BE49-F238E27FC236}">
                <a16:creationId xmlns:a16="http://schemas.microsoft.com/office/drawing/2014/main" xmlns="" id="{4A7AA0E5-A481-411E-ABFC-32F491AF0A6C}"/>
              </a:ext>
            </a:extLst>
          </p:cNvPr>
          <p:cNvSpPr/>
          <p:nvPr/>
        </p:nvSpPr>
        <p:spPr bwMode="gray">
          <a:xfrm>
            <a:off x="457200" y="1152646"/>
            <a:ext cx="2105526" cy="457200"/>
          </a:xfrm>
          <a:prstGeom prst="rect">
            <a:avLst/>
          </a:prstGeom>
          <a:solidFill>
            <a:srgbClr val="009AD7"/>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200" b="1" dirty="0">
                <a:solidFill>
                  <a:schemeClr val="bg1"/>
                </a:solidFill>
                <a:cs typeface="Calibri" panose="020F0502020204030204" pitchFamily="34" charset="0"/>
              </a:rPr>
              <a:t>Architecture</a:t>
            </a:r>
          </a:p>
        </p:txBody>
      </p:sp>
      <p:sp>
        <p:nvSpPr>
          <p:cNvPr id="10" name="Rounded Rectangle 43">
            <a:extLst>
              <a:ext uri="{FF2B5EF4-FFF2-40B4-BE49-F238E27FC236}">
                <a16:creationId xmlns:a16="http://schemas.microsoft.com/office/drawing/2014/main" xmlns="" id="{212CC84A-1ED7-4233-A367-B35A287437B3}"/>
              </a:ext>
            </a:extLst>
          </p:cNvPr>
          <p:cNvSpPr/>
          <p:nvPr/>
        </p:nvSpPr>
        <p:spPr bwMode="gray">
          <a:xfrm>
            <a:off x="457200" y="2139758"/>
            <a:ext cx="2105526" cy="457200"/>
          </a:xfrm>
          <a:prstGeom prst="rect">
            <a:avLst/>
          </a:prstGeom>
          <a:solidFill>
            <a:srgbClr val="009AD7"/>
          </a:solidFill>
          <a:ln>
            <a:no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200" b="1" dirty="0">
                <a:solidFill>
                  <a:schemeClr val="bg1"/>
                </a:solidFill>
                <a:cs typeface="Calibri" panose="020F0502020204030204" pitchFamily="34" charset="0"/>
              </a:rPr>
              <a:t>Analysis</a:t>
            </a:r>
          </a:p>
        </p:txBody>
      </p:sp>
      <p:sp>
        <p:nvSpPr>
          <p:cNvPr id="12" name="Rounded Rectangle 45">
            <a:extLst>
              <a:ext uri="{FF2B5EF4-FFF2-40B4-BE49-F238E27FC236}">
                <a16:creationId xmlns:a16="http://schemas.microsoft.com/office/drawing/2014/main" xmlns="" id="{78BA9E56-0446-4CF4-9555-194CBB2E9688}"/>
              </a:ext>
            </a:extLst>
          </p:cNvPr>
          <p:cNvSpPr/>
          <p:nvPr/>
        </p:nvSpPr>
        <p:spPr bwMode="gray">
          <a:xfrm>
            <a:off x="457200" y="2633314"/>
            <a:ext cx="2105526" cy="457200"/>
          </a:xfrm>
          <a:prstGeom prst="rect">
            <a:avLst/>
          </a:prstGeom>
          <a:solidFill>
            <a:srgbClr val="009AD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200" b="1" dirty="0">
                <a:solidFill>
                  <a:schemeClr val="bg1"/>
                </a:solidFill>
                <a:cs typeface="Calibri" panose="020F0502020204030204" pitchFamily="34" charset="0"/>
              </a:rPr>
              <a:t>Product and</a:t>
            </a:r>
            <a:br>
              <a:rPr lang="en-US" sz="1200" b="1" dirty="0">
                <a:solidFill>
                  <a:schemeClr val="bg1"/>
                </a:solidFill>
                <a:cs typeface="Calibri" panose="020F0502020204030204" pitchFamily="34" charset="0"/>
              </a:rPr>
            </a:br>
            <a:r>
              <a:rPr lang="en-US" sz="1200" b="1" dirty="0">
                <a:solidFill>
                  <a:schemeClr val="bg1"/>
                </a:solidFill>
                <a:cs typeface="Calibri" panose="020F0502020204030204" pitchFamily="34" charset="0"/>
              </a:rPr>
              <a:t>Platform Management</a:t>
            </a:r>
          </a:p>
        </p:txBody>
      </p:sp>
      <p:sp>
        <p:nvSpPr>
          <p:cNvPr id="14" name="Rounded Rectangle 45">
            <a:extLst>
              <a:ext uri="{FF2B5EF4-FFF2-40B4-BE49-F238E27FC236}">
                <a16:creationId xmlns:a16="http://schemas.microsoft.com/office/drawing/2014/main" xmlns="" id="{535BAFB1-ECE0-47E8-B3E5-58DE5E1410EB}"/>
              </a:ext>
            </a:extLst>
          </p:cNvPr>
          <p:cNvSpPr/>
          <p:nvPr/>
        </p:nvSpPr>
        <p:spPr bwMode="gray">
          <a:xfrm>
            <a:off x="457200" y="3126870"/>
            <a:ext cx="2105526" cy="457200"/>
          </a:xfrm>
          <a:prstGeom prst="rect">
            <a:avLst/>
          </a:prstGeom>
          <a:solidFill>
            <a:srgbClr val="009AD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200" b="1" dirty="0">
                <a:solidFill>
                  <a:schemeClr val="bg1"/>
                </a:solidFill>
                <a:cs typeface="Calibri" panose="020F0502020204030204" pitchFamily="34" charset="0"/>
              </a:rPr>
              <a:t>Delivery</a:t>
            </a:r>
          </a:p>
        </p:txBody>
      </p:sp>
      <p:sp>
        <p:nvSpPr>
          <p:cNvPr id="16" name="Rounded Rectangle 49">
            <a:extLst>
              <a:ext uri="{FF2B5EF4-FFF2-40B4-BE49-F238E27FC236}">
                <a16:creationId xmlns:a16="http://schemas.microsoft.com/office/drawing/2014/main" xmlns="" id="{F8C1ADEF-10EC-4A0C-B872-453235B259C0}"/>
              </a:ext>
            </a:extLst>
          </p:cNvPr>
          <p:cNvSpPr/>
          <p:nvPr/>
        </p:nvSpPr>
        <p:spPr bwMode="gray">
          <a:xfrm>
            <a:off x="457200" y="3620426"/>
            <a:ext cx="2105526" cy="457200"/>
          </a:xfrm>
          <a:prstGeom prst="rect">
            <a:avLst/>
          </a:prstGeom>
          <a:solidFill>
            <a:srgbClr val="009AD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200" b="1" dirty="0">
                <a:solidFill>
                  <a:schemeClr val="bg1"/>
                </a:solidFill>
                <a:cs typeface="Calibri" panose="020F0502020204030204" pitchFamily="34" charset="0"/>
              </a:rPr>
              <a:t>Technical Administration</a:t>
            </a:r>
          </a:p>
        </p:txBody>
      </p:sp>
      <p:sp>
        <p:nvSpPr>
          <p:cNvPr id="18" name="Rounded Rectangle 49">
            <a:extLst>
              <a:ext uri="{FF2B5EF4-FFF2-40B4-BE49-F238E27FC236}">
                <a16:creationId xmlns:a16="http://schemas.microsoft.com/office/drawing/2014/main" xmlns="" id="{C132ECC0-8BCE-47D1-80F1-20B618599680}"/>
              </a:ext>
            </a:extLst>
          </p:cNvPr>
          <p:cNvSpPr/>
          <p:nvPr/>
        </p:nvSpPr>
        <p:spPr bwMode="gray">
          <a:xfrm>
            <a:off x="457200" y="4607538"/>
            <a:ext cx="2105526" cy="457200"/>
          </a:xfrm>
          <a:prstGeom prst="rect">
            <a:avLst/>
          </a:prstGeom>
          <a:solidFill>
            <a:srgbClr val="009AD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200" b="1" dirty="0">
                <a:solidFill>
                  <a:schemeClr val="bg1"/>
                </a:solidFill>
                <a:cs typeface="Calibri" panose="020F0502020204030204" pitchFamily="34" charset="0"/>
              </a:rPr>
              <a:t>Technical Support</a:t>
            </a:r>
          </a:p>
        </p:txBody>
      </p:sp>
      <p:sp>
        <p:nvSpPr>
          <p:cNvPr id="20" name="Rounded Rectangle 49">
            <a:extLst>
              <a:ext uri="{FF2B5EF4-FFF2-40B4-BE49-F238E27FC236}">
                <a16:creationId xmlns:a16="http://schemas.microsoft.com/office/drawing/2014/main" xmlns="" id="{1FC91310-2147-4834-B00C-51B165622016}"/>
              </a:ext>
            </a:extLst>
          </p:cNvPr>
          <p:cNvSpPr/>
          <p:nvPr/>
        </p:nvSpPr>
        <p:spPr bwMode="gray">
          <a:xfrm>
            <a:off x="457200" y="4113982"/>
            <a:ext cx="2105526" cy="457200"/>
          </a:xfrm>
          <a:prstGeom prst="rect">
            <a:avLst/>
          </a:prstGeom>
          <a:solidFill>
            <a:srgbClr val="009AD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200" b="1" dirty="0">
                <a:solidFill>
                  <a:schemeClr val="bg1"/>
                </a:solidFill>
                <a:cs typeface="Calibri" panose="020F0502020204030204" pitchFamily="34" charset="0"/>
              </a:rPr>
              <a:t>UX</a:t>
            </a:r>
          </a:p>
        </p:txBody>
      </p:sp>
      <p:sp>
        <p:nvSpPr>
          <p:cNvPr id="23" name="Rounded Rectangle 49">
            <a:extLst>
              <a:ext uri="{FF2B5EF4-FFF2-40B4-BE49-F238E27FC236}">
                <a16:creationId xmlns:a16="http://schemas.microsoft.com/office/drawing/2014/main" xmlns="" id="{C2C37DE1-F5B2-453E-9D50-CCF4340D36F3}"/>
              </a:ext>
            </a:extLst>
          </p:cNvPr>
          <p:cNvSpPr/>
          <p:nvPr/>
        </p:nvSpPr>
        <p:spPr bwMode="gray">
          <a:xfrm>
            <a:off x="457200" y="5101094"/>
            <a:ext cx="2105526" cy="457200"/>
          </a:xfrm>
          <a:prstGeom prst="rect">
            <a:avLst/>
          </a:prstGeom>
          <a:solidFill>
            <a:srgbClr val="009AD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200" b="1" dirty="0">
                <a:solidFill>
                  <a:schemeClr val="bg1"/>
                </a:solidFill>
                <a:cs typeface="Calibri" panose="020F0502020204030204" pitchFamily="34" charset="0"/>
              </a:rPr>
              <a:t>IT Functional Support</a:t>
            </a:r>
          </a:p>
        </p:txBody>
      </p:sp>
      <p:sp>
        <p:nvSpPr>
          <p:cNvPr id="25" name="Rounded Rectangle 49">
            <a:extLst>
              <a:ext uri="{FF2B5EF4-FFF2-40B4-BE49-F238E27FC236}">
                <a16:creationId xmlns:a16="http://schemas.microsoft.com/office/drawing/2014/main" xmlns="" id="{43EC0C31-DBBC-4213-A7FC-20635DA5F861}"/>
              </a:ext>
            </a:extLst>
          </p:cNvPr>
          <p:cNvSpPr/>
          <p:nvPr/>
        </p:nvSpPr>
        <p:spPr bwMode="gray">
          <a:xfrm>
            <a:off x="457200" y="5594649"/>
            <a:ext cx="2105526" cy="457200"/>
          </a:xfrm>
          <a:prstGeom prst="rect">
            <a:avLst/>
          </a:prstGeom>
          <a:solidFill>
            <a:srgbClr val="009AD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200" b="1" dirty="0">
                <a:solidFill>
                  <a:schemeClr val="bg1"/>
                </a:solidFill>
                <a:cs typeface="Calibri" panose="020F0502020204030204" pitchFamily="34" charset="0"/>
              </a:rPr>
              <a:t>IT Leadership</a:t>
            </a:r>
          </a:p>
        </p:txBody>
      </p:sp>
      <p:sp>
        <p:nvSpPr>
          <p:cNvPr id="29" name="Rounded Rectangle 41">
            <a:extLst>
              <a:ext uri="{FF2B5EF4-FFF2-40B4-BE49-F238E27FC236}">
                <a16:creationId xmlns:a16="http://schemas.microsoft.com/office/drawing/2014/main" xmlns="" id="{0DC3993B-504C-4D61-B1CA-C72D3003C5DA}"/>
              </a:ext>
            </a:extLst>
          </p:cNvPr>
          <p:cNvSpPr/>
          <p:nvPr/>
        </p:nvSpPr>
        <p:spPr bwMode="gray">
          <a:xfrm>
            <a:off x="457200" y="1646202"/>
            <a:ext cx="2105526" cy="457200"/>
          </a:xfrm>
          <a:prstGeom prst="rect">
            <a:avLst/>
          </a:prstGeom>
          <a:solidFill>
            <a:srgbClr val="009AD7"/>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200" b="1" dirty="0">
                <a:solidFill>
                  <a:schemeClr val="bg1"/>
                </a:solidFill>
                <a:cs typeface="Calibri" panose="020F0502020204030204" pitchFamily="34" charset="0"/>
              </a:rPr>
              <a:t>Engineering</a:t>
            </a:r>
          </a:p>
        </p:txBody>
      </p:sp>
    </p:spTree>
    <p:extLst>
      <p:ext uri="{BB962C8B-B14F-4D97-AF65-F5344CB8AC3E}">
        <p14:creationId xmlns:p14="http://schemas.microsoft.com/office/powerpoint/2010/main" val="41281974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3CEA6D75-C17E-45F6-86C4-077A0F390B0E}"/>
              </a:ext>
            </a:extLst>
          </p:cNvPr>
          <p:cNvGraphicFramePr>
            <a:graphicFrameLocks noChangeAspect="1"/>
          </p:cNvGraphicFramePr>
          <p:nvPr>
            <p:custDataLst>
              <p:tags r:id="rId2"/>
            </p:custDataLst>
            <p:extLst>
              <p:ext uri="{D42A27DB-BD31-4B8C-83A1-F6EECF244321}">
                <p14:modId xmlns:p14="http://schemas.microsoft.com/office/powerpoint/2010/main" val="3979634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0"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xmlns="" id="{3CEA6D75-C17E-45F6-86C4-077A0F390B0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4E3C7476-D3C3-4E2B-A020-C5B3CD50FAC8}"/>
              </a:ext>
            </a:extLst>
          </p:cNvPr>
          <p:cNvSpPr>
            <a:spLocks noGrp="1"/>
          </p:cNvSpPr>
          <p:nvPr>
            <p:ph type="title"/>
          </p:nvPr>
        </p:nvSpPr>
        <p:spPr bwMode="gray"/>
        <p:txBody>
          <a:bodyPr vert="horz"/>
          <a:lstStyle/>
          <a:p>
            <a:r>
              <a:rPr lang="en-US" dirty="0"/>
              <a:t>Job Architecture Provides an Organizing Framework for Mapping Jobs and Career Ladders to Compensation Structure </a:t>
            </a:r>
          </a:p>
        </p:txBody>
      </p:sp>
      <p:sp>
        <p:nvSpPr>
          <p:cNvPr id="8" name="Rectangle 7">
            <a:extLst>
              <a:ext uri="{FF2B5EF4-FFF2-40B4-BE49-F238E27FC236}">
                <a16:creationId xmlns:a16="http://schemas.microsoft.com/office/drawing/2014/main" xmlns="" id="{CC1BD0BD-EE3B-40C3-B3F9-B94645ACE093}"/>
              </a:ext>
            </a:extLst>
          </p:cNvPr>
          <p:cNvSpPr/>
          <p:nvPr/>
        </p:nvSpPr>
        <p:spPr bwMode="gray">
          <a:xfrm>
            <a:off x="7821613" y="1237778"/>
            <a:ext cx="3911599" cy="4759000"/>
          </a:xfrm>
          <a:prstGeom prst="rect">
            <a:avLst/>
          </a:prstGeom>
          <a:solidFill>
            <a:srgbClr val="A1B3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 name="Rectangle 8">
            <a:extLst>
              <a:ext uri="{FF2B5EF4-FFF2-40B4-BE49-F238E27FC236}">
                <a16:creationId xmlns:a16="http://schemas.microsoft.com/office/drawing/2014/main" xmlns="" id="{A7F32610-14A8-4F49-A25B-7A807F9FD775}"/>
              </a:ext>
            </a:extLst>
          </p:cNvPr>
          <p:cNvSpPr/>
          <p:nvPr/>
        </p:nvSpPr>
        <p:spPr bwMode="gray">
          <a:xfrm>
            <a:off x="5103632" y="1246914"/>
            <a:ext cx="2719567" cy="4745394"/>
          </a:xfrm>
          <a:prstGeom prst="rect">
            <a:avLst/>
          </a:prstGeom>
          <a:solidFill>
            <a:srgbClr val="D0DE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0" name="Rectangle 9">
            <a:extLst>
              <a:ext uri="{FF2B5EF4-FFF2-40B4-BE49-F238E27FC236}">
                <a16:creationId xmlns:a16="http://schemas.microsoft.com/office/drawing/2014/main" xmlns="" id="{475D750F-44A8-433B-9DB9-2BB2ECC310CF}"/>
              </a:ext>
            </a:extLst>
          </p:cNvPr>
          <p:cNvSpPr/>
          <p:nvPr/>
        </p:nvSpPr>
        <p:spPr bwMode="gray">
          <a:xfrm>
            <a:off x="4467727" y="1250809"/>
            <a:ext cx="662671" cy="4741500"/>
          </a:xfrm>
          <a:prstGeom prst="rect">
            <a:avLst/>
          </a:prstGeom>
          <a:solidFill>
            <a:srgbClr val="D0DE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1" name="Rectangle 10">
            <a:extLst>
              <a:ext uri="{FF2B5EF4-FFF2-40B4-BE49-F238E27FC236}">
                <a16:creationId xmlns:a16="http://schemas.microsoft.com/office/drawing/2014/main" xmlns="" id="{8A8B1EB1-114A-4EBD-9FA5-9C791335F5FC}"/>
              </a:ext>
            </a:extLst>
          </p:cNvPr>
          <p:cNvSpPr/>
          <p:nvPr/>
        </p:nvSpPr>
        <p:spPr bwMode="gray">
          <a:xfrm>
            <a:off x="2722033" y="1246914"/>
            <a:ext cx="1747165" cy="4745394"/>
          </a:xfrm>
          <a:prstGeom prst="rect">
            <a:avLst/>
          </a:prstGeom>
          <a:solidFill>
            <a:srgbClr val="D0DE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 name="Rectangle 11">
            <a:extLst>
              <a:ext uri="{FF2B5EF4-FFF2-40B4-BE49-F238E27FC236}">
                <a16:creationId xmlns:a16="http://schemas.microsoft.com/office/drawing/2014/main" xmlns="" id="{78B7A9CC-E1D7-4B1F-8649-0D59BBF458BC}"/>
              </a:ext>
            </a:extLst>
          </p:cNvPr>
          <p:cNvSpPr/>
          <p:nvPr/>
        </p:nvSpPr>
        <p:spPr bwMode="gray">
          <a:xfrm>
            <a:off x="1582495" y="1250809"/>
            <a:ext cx="1139538" cy="474539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 name="Rectangle 12">
            <a:extLst>
              <a:ext uri="{FF2B5EF4-FFF2-40B4-BE49-F238E27FC236}">
                <a16:creationId xmlns:a16="http://schemas.microsoft.com/office/drawing/2014/main" xmlns="" id="{C6F4C64F-87B4-4E20-A2E7-6CAE7B69CBB4}"/>
              </a:ext>
            </a:extLst>
          </p:cNvPr>
          <p:cNvSpPr/>
          <p:nvPr/>
        </p:nvSpPr>
        <p:spPr bwMode="gray">
          <a:xfrm>
            <a:off x="797378" y="1250809"/>
            <a:ext cx="788830" cy="4745395"/>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Arrow: Up 13">
            <a:extLst>
              <a:ext uri="{FF2B5EF4-FFF2-40B4-BE49-F238E27FC236}">
                <a16:creationId xmlns:a16="http://schemas.microsoft.com/office/drawing/2014/main" xmlns="" id="{98CEB584-300D-4282-B131-8BE93E1E9E5C}"/>
              </a:ext>
            </a:extLst>
          </p:cNvPr>
          <p:cNvSpPr/>
          <p:nvPr/>
        </p:nvSpPr>
        <p:spPr bwMode="gray">
          <a:xfrm>
            <a:off x="229115" y="1117602"/>
            <a:ext cx="307935" cy="4866488"/>
          </a:xfrm>
          <a:prstGeom prst="upArrow">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0" name="Rectangle 119">
            <a:extLst>
              <a:ext uri="{FF2B5EF4-FFF2-40B4-BE49-F238E27FC236}">
                <a16:creationId xmlns:a16="http://schemas.microsoft.com/office/drawing/2014/main" xmlns="" id="{4FF5FE5D-4F1D-48E8-A2E1-DBBF7C4B9CB4}"/>
              </a:ext>
            </a:extLst>
          </p:cNvPr>
          <p:cNvSpPr/>
          <p:nvPr/>
        </p:nvSpPr>
        <p:spPr bwMode="gray">
          <a:xfrm>
            <a:off x="862980" y="5567927"/>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Service Desk Specialist I</a:t>
            </a:r>
          </a:p>
        </p:txBody>
      </p:sp>
      <p:sp>
        <p:nvSpPr>
          <p:cNvPr id="121" name="Rectangle 120">
            <a:extLst>
              <a:ext uri="{FF2B5EF4-FFF2-40B4-BE49-F238E27FC236}">
                <a16:creationId xmlns:a16="http://schemas.microsoft.com/office/drawing/2014/main" xmlns="" id="{44E38023-AC95-4505-9849-7532B2DBD806}"/>
              </a:ext>
            </a:extLst>
          </p:cNvPr>
          <p:cNvSpPr/>
          <p:nvPr/>
        </p:nvSpPr>
        <p:spPr bwMode="gray">
          <a:xfrm>
            <a:off x="862980" y="515425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Service Desk Specialist II </a:t>
            </a:r>
          </a:p>
        </p:txBody>
      </p:sp>
      <p:sp>
        <p:nvSpPr>
          <p:cNvPr id="118" name="Rectangle 117">
            <a:extLst>
              <a:ext uri="{FF2B5EF4-FFF2-40B4-BE49-F238E27FC236}">
                <a16:creationId xmlns:a16="http://schemas.microsoft.com/office/drawing/2014/main" xmlns="" id="{631C5BB5-2255-412C-AB7D-6D226C4A73DC}"/>
              </a:ext>
            </a:extLst>
          </p:cNvPr>
          <p:cNvSpPr/>
          <p:nvPr/>
        </p:nvSpPr>
        <p:spPr bwMode="gray">
          <a:xfrm>
            <a:off x="1498912" y="515425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Infra.</a:t>
            </a:r>
            <a:br>
              <a:rPr lang="en-US" sz="700" dirty="0">
                <a:solidFill>
                  <a:schemeClr val="tx1"/>
                </a:solidFill>
              </a:rPr>
            </a:br>
            <a:r>
              <a:rPr lang="en-US" sz="700" dirty="0">
                <a:solidFill>
                  <a:schemeClr val="tx1"/>
                </a:solidFill>
              </a:rPr>
              <a:t>Admin I</a:t>
            </a:r>
          </a:p>
        </p:txBody>
      </p:sp>
      <p:sp>
        <p:nvSpPr>
          <p:cNvPr id="119" name="Rectangle 118">
            <a:extLst>
              <a:ext uri="{FF2B5EF4-FFF2-40B4-BE49-F238E27FC236}">
                <a16:creationId xmlns:a16="http://schemas.microsoft.com/office/drawing/2014/main" xmlns="" id="{52062395-F0A8-4432-BC05-ED6554E2A78D}"/>
              </a:ext>
            </a:extLst>
          </p:cNvPr>
          <p:cNvSpPr/>
          <p:nvPr/>
        </p:nvSpPr>
        <p:spPr bwMode="gray">
          <a:xfrm>
            <a:off x="1498912" y="474059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Infra.</a:t>
            </a:r>
            <a:br>
              <a:rPr lang="en-US" sz="700" dirty="0">
                <a:solidFill>
                  <a:schemeClr val="tx1"/>
                </a:solidFill>
              </a:rPr>
            </a:br>
            <a:r>
              <a:rPr lang="en-US" sz="700" dirty="0">
                <a:solidFill>
                  <a:schemeClr val="tx1"/>
                </a:solidFill>
              </a:rPr>
              <a:t>Admin II </a:t>
            </a:r>
          </a:p>
        </p:txBody>
      </p:sp>
      <p:sp>
        <p:nvSpPr>
          <p:cNvPr id="117" name="Rectangle 116">
            <a:extLst>
              <a:ext uri="{FF2B5EF4-FFF2-40B4-BE49-F238E27FC236}">
                <a16:creationId xmlns:a16="http://schemas.microsoft.com/office/drawing/2014/main" xmlns="" id="{D6EFFCCE-603C-403A-A5CA-D53498372C4A}"/>
              </a:ext>
            </a:extLst>
          </p:cNvPr>
          <p:cNvSpPr/>
          <p:nvPr/>
        </p:nvSpPr>
        <p:spPr bwMode="gray">
          <a:xfrm>
            <a:off x="1498912" y="432692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Infra.</a:t>
            </a:r>
            <a:br>
              <a:rPr lang="en-US" sz="700" dirty="0">
                <a:solidFill>
                  <a:schemeClr val="tx1"/>
                </a:solidFill>
              </a:rPr>
            </a:br>
            <a:r>
              <a:rPr lang="en-US" sz="700" dirty="0">
                <a:solidFill>
                  <a:schemeClr val="tx1"/>
                </a:solidFill>
              </a:rPr>
              <a:t>Admin III</a:t>
            </a:r>
          </a:p>
        </p:txBody>
      </p:sp>
      <p:sp>
        <p:nvSpPr>
          <p:cNvPr id="114" name="Rectangle 113">
            <a:extLst>
              <a:ext uri="{FF2B5EF4-FFF2-40B4-BE49-F238E27FC236}">
                <a16:creationId xmlns:a16="http://schemas.microsoft.com/office/drawing/2014/main" xmlns="" id="{37E9E6B6-61A3-46A6-837D-E4F461CC4E55}"/>
              </a:ext>
            </a:extLst>
          </p:cNvPr>
          <p:cNvSpPr/>
          <p:nvPr/>
        </p:nvSpPr>
        <p:spPr bwMode="gray">
          <a:xfrm>
            <a:off x="2134844" y="515425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DBA</a:t>
            </a:r>
          </a:p>
          <a:p>
            <a:pPr algn="ctr"/>
            <a:r>
              <a:rPr lang="en-US" sz="700" dirty="0">
                <a:solidFill>
                  <a:schemeClr val="tx1"/>
                </a:solidFill>
              </a:rPr>
              <a:t>I</a:t>
            </a:r>
          </a:p>
        </p:txBody>
      </p:sp>
      <p:sp>
        <p:nvSpPr>
          <p:cNvPr id="115" name="Rectangle 114">
            <a:extLst>
              <a:ext uri="{FF2B5EF4-FFF2-40B4-BE49-F238E27FC236}">
                <a16:creationId xmlns:a16="http://schemas.microsoft.com/office/drawing/2014/main" xmlns="" id="{3148CD02-6324-4204-8E96-CA92BEDFAA4F}"/>
              </a:ext>
            </a:extLst>
          </p:cNvPr>
          <p:cNvSpPr/>
          <p:nvPr/>
        </p:nvSpPr>
        <p:spPr bwMode="gray">
          <a:xfrm>
            <a:off x="2134844" y="474059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DBA </a:t>
            </a:r>
          </a:p>
          <a:p>
            <a:pPr algn="ctr"/>
            <a:r>
              <a:rPr lang="en-US" sz="700" dirty="0">
                <a:solidFill>
                  <a:schemeClr val="tx1"/>
                </a:solidFill>
              </a:rPr>
              <a:t>II </a:t>
            </a:r>
          </a:p>
        </p:txBody>
      </p:sp>
      <p:sp>
        <p:nvSpPr>
          <p:cNvPr id="113" name="Rectangle 112">
            <a:extLst>
              <a:ext uri="{FF2B5EF4-FFF2-40B4-BE49-F238E27FC236}">
                <a16:creationId xmlns:a16="http://schemas.microsoft.com/office/drawing/2014/main" xmlns="" id="{FC74FCCE-7B25-45CB-9538-08FC8454765E}"/>
              </a:ext>
            </a:extLst>
          </p:cNvPr>
          <p:cNvSpPr/>
          <p:nvPr/>
        </p:nvSpPr>
        <p:spPr bwMode="gray">
          <a:xfrm>
            <a:off x="2134844" y="432692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DBA</a:t>
            </a:r>
          </a:p>
          <a:p>
            <a:pPr algn="ctr"/>
            <a:r>
              <a:rPr lang="en-US" sz="700" dirty="0">
                <a:solidFill>
                  <a:schemeClr val="tx1"/>
                </a:solidFill>
              </a:rPr>
              <a:t>III</a:t>
            </a:r>
          </a:p>
        </p:txBody>
      </p:sp>
      <p:sp>
        <p:nvSpPr>
          <p:cNvPr id="109" name="Rectangle 108">
            <a:extLst>
              <a:ext uri="{FF2B5EF4-FFF2-40B4-BE49-F238E27FC236}">
                <a16:creationId xmlns:a16="http://schemas.microsoft.com/office/drawing/2014/main" xmlns="" id="{AE981283-EC83-4600-A098-46B1B447652A}"/>
              </a:ext>
            </a:extLst>
          </p:cNvPr>
          <p:cNvSpPr/>
          <p:nvPr/>
        </p:nvSpPr>
        <p:spPr bwMode="gray">
          <a:xfrm>
            <a:off x="5314504" y="432692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Software Engineer I</a:t>
            </a:r>
          </a:p>
        </p:txBody>
      </p:sp>
      <p:sp>
        <p:nvSpPr>
          <p:cNvPr id="110" name="Rectangle 109">
            <a:extLst>
              <a:ext uri="{FF2B5EF4-FFF2-40B4-BE49-F238E27FC236}">
                <a16:creationId xmlns:a16="http://schemas.microsoft.com/office/drawing/2014/main" xmlns="" id="{455BC1B6-40DB-4267-939F-2DDC089848B8}"/>
              </a:ext>
            </a:extLst>
          </p:cNvPr>
          <p:cNvSpPr/>
          <p:nvPr/>
        </p:nvSpPr>
        <p:spPr bwMode="gray">
          <a:xfrm>
            <a:off x="5314504" y="349959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Software Engineer III</a:t>
            </a:r>
          </a:p>
        </p:txBody>
      </p:sp>
      <p:sp>
        <p:nvSpPr>
          <p:cNvPr id="111" name="Rectangle 110">
            <a:extLst>
              <a:ext uri="{FF2B5EF4-FFF2-40B4-BE49-F238E27FC236}">
                <a16:creationId xmlns:a16="http://schemas.microsoft.com/office/drawing/2014/main" xmlns="" id="{CC56E9EA-94AD-4373-AF27-19797C828831}"/>
              </a:ext>
            </a:extLst>
          </p:cNvPr>
          <p:cNvSpPr/>
          <p:nvPr/>
        </p:nvSpPr>
        <p:spPr bwMode="gray">
          <a:xfrm>
            <a:off x="5314504" y="391326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Software Engineer II</a:t>
            </a:r>
          </a:p>
        </p:txBody>
      </p:sp>
      <p:sp>
        <p:nvSpPr>
          <p:cNvPr id="108" name="Rectangle 107">
            <a:extLst>
              <a:ext uri="{FF2B5EF4-FFF2-40B4-BE49-F238E27FC236}">
                <a16:creationId xmlns:a16="http://schemas.microsoft.com/office/drawing/2014/main" xmlns="" id="{E3458F19-94D8-4878-8E6C-9B81AA6B0C5B}"/>
              </a:ext>
            </a:extLst>
          </p:cNvPr>
          <p:cNvSpPr/>
          <p:nvPr/>
        </p:nvSpPr>
        <p:spPr bwMode="gray">
          <a:xfrm>
            <a:off x="5314504" y="308593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Software Engineer IV</a:t>
            </a:r>
          </a:p>
        </p:txBody>
      </p:sp>
      <p:sp>
        <p:nvSpPr>
          <p:cNvPr id="104" name="Rectangle 103">
            <a:extLst>
              <a:ext uri="{FF2B5EF4-FFF2-40B4-BE49-F238E27FC236}">
                <a16:creationId xmlns:a16="http://schemas.microsoft.com/office/drawing/2014/main" xmlns="" id="{4E4F6925-219C-4709-AE1D-6110F5C858AD}"/>
              </a:ext>
            </a:extLst>
          </p:cNvPr>
          <p:cNvSpPr/>
          <p:nvPr/>
        </p:nvSpPr>
        <p:spPr bwMode="gray">
          <a:xfrm>
            <a:off x="5950436" y="432692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Data Engineer I</a:t>
            </a:r>
          </a:p>
        </p:txBody>
      </p:sp>
      <p:sp>
        <p:nvSpPr>
          <p:cNvPr id="105" name="Rectangle 104">
            <a:extLst>
              <a:ext uri="{FF2B5EF4-FFF2-40B4-BE49-F238E27FC236}">
                <a16:creationId xmlns:a16="http://schemas.microsoft.com/office/drawing/2014/main" xmlns="" id="{52251911-EE8C-4185-9528-04FCC6DB4D99}"/>
              </a:ext>
            </a:extLst>
          </p:cNvPr>
          <p:cNvSpPr/>
          <p:nvPr/>
        </p:nvSpPr>
        <p:spPr bwMode="gray">
          <a:xfrm>
            <a:off x="5950436" y="349959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Data</a:t>
            </a:r>
            <a:br>
              <a:rPr lang="en-US" sz="700" dirty="0">
                <a:solidFill>
                  <a:schemeClr val="tx1"/>
                </a:solidFill>
              </a:rPr>
            </a:br>
            <a:r>
              <a:rPr lang="en-US" sz="700" dirty="0">
                <a:solidFill>
                  <a:schemeClr val="tx1"/>
                </a:solidFill>
              </a:rPr>
              <a:t>Engineer III</a:t>
            </a:r>
          </a:p>
        </p:txBody>
      </p:sp>
      <p:sp>
        <p:nvSpPr>
          <p:cNvPr id="106" name="Rectangle 105">
            <a:extLst>
              <a:ext uri="{FF2B5EF4-FFF2-40B4-BE49-F238E27FC236}">
                <a16:creationId xmlns:a16="http://schemas.microsoft.com/office/drawing/2014/main" xmlns="" id="{6E7EC3CE-D345-41F3-930B-27A274320A9E}"/>
              </a:ext>
            </a:extLst>
          </p:cNvPr>
          <p:cNvSpPr/>
          <p:nvPr/>
        </p:nvSpPr>
        <p:spPr bwMode="gray">
          <a:xfrm>
            <a:off x="5950436" y="391326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Data</a:t>
            </a:r>
            <a:br>
              <a:rPr lang="en-US" sz="700" dirty="0">
                <a:solidFill>
                  <a:schemeClr val="tx1"/>
                </a:solidFill>
              </a:rPr>
            </a:br>
            <a:r>
              <a:rPr lang="en-US" sz="700" dirty="0">
                <a:solidFill>
                  <a:schemeClr val="tx1"/>
                </a:solidFill>
              </a:rPr>
              <a:t>Engineer II</a:t>
            </a:r>
          </a:p>
        </p:txBody>
      </p:sp>
      <p:sp>
        <p:nvSpPr>
          <p:cNvPr id="103" name="Rectangle 102">
            <a:extLst>
              <a:ext uri="{FF2B5EF4-FFF2-40B4-BE49-F238E27FC236}">
                <a16:creationId xmlns:a16="http://schemas.microsoft.com/office/drawing/2014/main" xmlns="" id="{8607B735-371D-4E91-BE79-D4F722BD03ED}"/>
              </a:ext>
            </a:extLst>
          </p:cNvPr>
          <p:cNvSpPr/>
          <p:nvPr/>
        </p:nvSpPr>
        <p:spPr bwMode="gray">
          <a:xfrm>
            <a:off x="5950436" y="308593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Data</a:t>
            </a:r>
            <a:br>
              <a:rPr lang="en-US" sz="700" dirty="0">
                <a:solidFill>
                  <a:schemeClr val="tx1"/>
                </a:solidFill>
              </a:rPr>
            </a:br>
            <a:r>
              <a:rPr lang="en-US" sz="700" dirty="0">
                <a:solidFill>
                  <a:schemeClr val="tx1"/>
                </a:solidFill>
              </a:rPr>
              <a:t>Engineer IV</a:t>
            </a:r>
          </a:p>
        </p:txBody>
      </p:sp>
      <p:sp>
        <p:nvSpPr>
          <p:cNvPr id="99" name="Rectangle 98">
            <a:extLst>
              <a:ext uri="{FF2B5EF4-FFF2-40B4-BE49-F238E27FC236}">
                <a16:creationId xmlns:a16="http://schemas.microsoft.com/office/drawing/2014/main" xmlns="" id="{34A3F016-FBC1-4822-99AE-E10048C85112}"/>
              </a:ext>
            </a:extLst>
          </p:cNvPr>
          <p:cNvSpPr/>
          <p:nvPr/>
        </p:nvSpPr>
        <p:spPr bwMode="gray">
          <a:xfrm>
            <a:off x="6586368" y="432692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Infra.</a:t>
            </a:r>
          </a:p>
          <a:p>
            <a:pPr algn="ctr"/>
            <a:r>
              <a:rPr lang="en-US" sz="700" dirty="0">
                <a:solidFill>
                  <a:schemeClr val="tx1"/>
                </a:solidFill>
              </a:rPr>
              <a:t>Engineer </a:t>
            </a:r>
          </a:p>
          <a:p>
            <a:pPr algn="ctr"/>
            <a:r>
              <a:rPr lang="en-US" sz="700" dirty="0">
                <a:solidFill>
                  <a:schemeClr val="tx1"/>
                </a:solidFill>
              </a:rPr>
              <a:t>I</a:t>
            </a:r>
          </a:p>
        </p:txBody>
      </p:sp>
      <p:sp>
        <p:nvSpPr>
          <p:cNvPr id="100" name="Rectangle 99">
            <a:extLst>
              <a:ext uri="{FF2B5EF4-FFF2-40B4-BE49-F238E27FC236}">
                <a16:creationId xmlns:a16="http://schemas.microsoft.com/office/drawing/2014/main" xmlns="" id="{BE4525A2-41B4-437B-AC7E-6ADFBC806F05}"/>
              </a:ext>
            </a:extLst>
          </p:cNvPr>
          <p:cNvSpPr/>
          <p:nvPr/>
        </p:nvSpPr>
        <p:spPr bwMode="gray">
          <a:xfrm>
            <a:off x="6586368" y="349959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Infra. Engineer </a:t>
            </a:r>
          </a:p>
          <a:p>
            <a:pPr algn="ctr"/>
            <a:r>
              <a:rPr lang="en-US" sz="700" dirty="0">
                <a:solidFill>
                  <a:schemeClr val="tx1"/>
                </a:solidFill>
              </a:rPr>
              <a:t>III</a:t>
            </a:r>
          </a:p>
        </p:txBody>
      </p:sp>
      <p:sp>
        <p:nvSpPr>
          <p:cNvPr id="101" name="Rectangle 100">
            <a:extLst>
              <a:ext uri="{FF2B5EF4-FFF2-40B4-BE49-F238E27FC236}">
                <a16:creationId xmlns:a16="http://schemas.microsoft.com/office/drawing/2014/main" xmlns="" id="{5BC979AE-FFDF-4A96-B907-7E3DF175BD5C}"/>
              </a:ext>
            </a:extLst>
          </p:cNvPr>
          <p:cNvSpPr/>
          <p:nvPr/>
        </p:nvSpPr>
        <p:spPr bwMode="gray">
          <a:xfrm>
            <a:off x="6586368" y="391326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Infra. Engineer </a:t>
            </a:r>
          </a:p>
          <a:p>
            <a:pPr algn="ctr"/>
            <a:r>
              <a:rPr lang="en-US" sz="700" dirty="0">
                <a:solidFill>
                  <a:schemeClr val="tx1"/>
                </a:solidFill>
              </a:rPr>
              <a:t>II</a:t>
            </a:r>
          </a:p>
        </p:txBody>
      </p:sp>
      <p:sp>
        <p:nvSpPr>
          <p:cNvPr id="98" name="Rectangle 97">
            <a:extLst>
              <a:ext uri="{FF2B5EF4-FFF2-40B4-BE49-F238E27FC236}">
                <a16:creationId xmlns:a16="http://schemas.microsoft.com/office/drawing/2014/main" xmlns="" id="{433CEAA8-5B0E-4E5D-A725-5CFC39074378}"/>
              </a:ext>
            </a:extLst>
          </p:cNvPr>
          <p:cNvSpPr/>
          <p:nvPr/>
        </p:nvSpPr>
        <p:spPr bwMode="gray">
          <a:xfrm>
            <a:off x="6586368" y="308593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Infra. Engineer</a:t>
            </a:r>
          </a:p>
          <a:p>
            <a:pPr algn="ctr"/>
            <a:r>
              <a:rPr lang="en-US" sz="700" dirty="0">
                <a:solidFill>
                  <a:schemeClr val="tx1"/>
                </a:solidFill>
              </a:rPr>
              <a:t> IV</a:t>
            </a:r>
          </a:p>
        </p:txBody>
      </p:sp>
      <p:sp>
        <p:nvSpPr>
          <p:cNvPr id="94" name="Rectangle 93">
            <a:extLst>
              <a:ext uri="{FF2B5EF4-FFF2-40B4-BE49-F238E27FC236}">
                <a16:creationId xmlns:a16="http://schemas.microsoft.com/office/drawing/2014/main" xmlns="" id="{0081B1CA-A20C-4154-B0BE-5F6CDCD6FF38}"/>
              </a:ext>
            </a:extLst>
          </p:cNvPr>
          <p:cNvSpPr/>
          <p:nvPr/>
        </p:nvSpPr>
        <p:spPr bwMode="gray">
          <a:xfrm>
            <a:off x="7222300" y="432692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Automation Engineer I</a:t>
            </a:r>
          </a:p>
        </p:txBody>
      </p:sp>
      <p:sp>
        <p:nvSpPr>
          <p:cNvPr id="95" name="Rectangle 94">
            <a:extLst>
              <a:ext uri="{FF2B5EF4-FFF2-40B4-BE49-F238E27FC236}">
                <a16:creationId xmlns:a16="http://schemas.microsoft.com/office/drawing/2014/main" xmlns="" id="{1421F376-86A1-4E55-A553-F6C9D35E790F}"/>
              </a:ext>
            </a:extLst>
          </p:cNvPr>
          <p:cNvSpPr/>
          <p:nvPr/>
        </p:nvSpPr>
        <p:spPr bwMode="gray">
          <a:xfrm>
            <a:off x="7222300" y="349959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Automation Engineer III</a:t>
            </a:r>
          </a:p>
        </p:txBody>
      </p:sp>
      <p:sp>
        <p:nvSpPr>
          <p:cNvPr id="96" name="Rectangle 95">
            <a:extLst>
              <a:ext uri="{FF2B5EF4-FFF2-40B4-BE49-F238E27FC236}">
                <a16:creationId xmlns:a16="http://schemas.microsoft.com/office/drawing/2014/main" xmlns="" id="{52D88D8E-6821-4B33-B7CA-35295EFCCFBC}"/>
              </a:ext>
            </a:extLst>
          </p:cNvPr>
          <p:cNvSpPr/>
          <p:nvPr/>
        </p:nvSpPr>
        <p:spPr bwMode="gray">
          <a:xfrm>
            <a:off x="7222300" y="391326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Automation Engineer II</a:t>
            </a:r>
          </a:p>
        </p:txBody>
      </p:sp>
      <p:sp>
        <p:nvSpPr>
          <p:cNvPr id="93" name="Rectangle 92">
            <a:extLst>
              <a:ext uri="{FF2B5EF4-FFF2-40B4-BE49-F238E27FC236}">
                <a16:creationId xmlns:a16="http://schemas.microsoft.com/office/drawing/2014/main" xmlns="" id="{46F3CEDE-ABD7-44CB-84D2-E0CC6E006599}"/>
              </a:ext>
            </a:extLst>
          </p:cNvPr>
          <p:cNvSpPr/>
          <p:nvPr/>
        </p:nvSpPr>
        <p:spPr bwMode="gray">
          <a:xfrm>
            <a:off x="7222300" y="308593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Automation Engineer IV</a:t>
            </a:r>
          </a:p>
        </p:txBody>
      </p:sp>
      <p:sp>
        <p:nvSpPr>
          <p:cNvPr id="90" name="Rectangle 89">
            <a:extLst>
              <a:ext uri="{FF2B5EF4-FFF2-40B4-BE49-F238E27FC236}">
                <a16:creationId xmlns:a16="http://schemas.microsoft.com/office/drawing/2014/main" xmlns="" id="{E2DF59C6-DE5C-42AD-A901-92DC0CD9F6F0}"/>
              </a:ext>
            </a:extLst>
          </p:cNvPr>
          <p:cNvSpPr/>
          <p:nvPr/>
        </p:nvSpPr>
        <p:spPr bwMode="gray">
          <a:xfrm>
            <a:off x="7862577" y="308593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Domain Architect II</a:t>
            </a:r>
          </a:p>
        </p:txBody>
      </p:sp>
      <p:sp>
        <p:nvSpPr>
          <p:cNvPr id="91" name="Rectangle 90">
            <a:extLst>
              <a:ext uri="{FF2B5EF4-FFF2-40B4-BE49-F238E27FC236}">
                <a16:creationId xmlns:a16="http://schemas.microsoft.com/office/drawing/2014/main" xmlns="" id="{5A35FCF1-2CB4-452F-A4E9-C26A409941CA}"/>
              </a:ext>
            </a:extLst>
          </p:cNvPr>
          <p:cNvSpPr/>
          <p:nvPr/>
        </p:nvSpPr>
        <p:spPr bwMode="gray">
          <a:xfrm>
            <a:off x="7862577" y="349959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Domain Architect I</a:t>
            </a:r>
          </a:p>
        </p:txBody>
      </p:sp>
      <p:sp>
        <p:nvSpPr>
          <p:cNvPr id="89" name="Rectangle 88">
            <a:extLst>
              <a:ext uri="{FF2B5EF4-FFF2-40B4-BE49-F238E27FC236}">
                <a16:creationId xmlns:a16="http://schemas.microsoft.com/office/drawing/2014/main" xmlns="" id="{D63D83D2-46F2-436C-B134-09EDBCDA2EAE}"/>
              </a:ext>
            </a:extLst>
          </p:cNvPr>
          <p:cNvSpPr/>
          <p:nvPr/>
        </p:nvSpPr>
        <p:spPr bwMode="gray">
          <a:xfrm>
            <a:off x="7862577" y="267226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Domain Architect III</a:t>
            </a:r>
          </a:p>
        </p:txBody>
      </p:sp>
      <p:sp>
        <p:nvSpPr>
          <p:cNvPr id="86" name="Rectangle 85">
            <a:extLst>
              <a:ext uri="{FF2B5EF4-FFF2-40B4-BE49-F238E27FC236}">
                <a16:creationId xmlns:a16="http://schemas.microsoft.com/office/drawing/2014/main" xmlns="" id="{490BFA84-77D3-47A9-B7C9-2871F2B069F3}"/>
              </a:ext>
            </a:extLst>
          </p:cNvPr>
          <p:cNvSpPr/>
          <p:nvPr/>
        </p:nvSpPr>
        <p:spPr bwMode="gray">
          <a:xfrm>
            <a:off x="8497464" y="308593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Enterprise Architect I</a:t>
            </a:r>
          </a:p>
        </p:txBody>
      </p:sp>
      <p:sp>
        <p:nvSpPr>
          <p:cNvPr id="87" name="Rectangle 86">
            <a:extLst>
              <a:ext uri="{FF2B5EF4-FFF2-40B4-BE49-F238E27FC236}">
                <a16:creationId xmlns:a16="http://schemas.microsoft.com/office/drawing/2014/main" xmlns="" id="{87D108B5-1806-430F-B9A7-43E5DF90CDE7}"/>
              </a:ext>
            </a:extLst>
          </p:cNvPr>
          <p:cNvSpPr/>
          <p:nvPr/>
        </p:nvSpPr>
        <p:spPr bwMode="gray">
          <a:xfrm>
            <a:off x="8497464" y="267226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Enterprise Architect</a:t>
            </a:r>
          </a:p>
          <a:p>
            <a:pPr algn="ctr"/>
            <a:r>
              <a:rPr lang="en-US" sz="700" dirty="0">
                <a:solidFill>
                  <a:schemeClr val="tx1"/>
                </a:solidFill>
              </a:rPr>
              <a:t>II</a:t>
            </a:r>
          </a:p>
        </p:txBody>
      </p:sp>
      <p:sp>
        <p:nvSpPr>
          <p:cNvPr id="85" name="Rectangle 84">
            <a:extLst>
              <a:ext uri="{FF2B5EF4-FFF2-40B4-BE49-F238E27FC236}">
                <a16:creationId xmlns:a16="http://schemas.microsoft.com/office/drawing/2014/main" xmlns="" id="{F978B443-F7CB-4C9D-B826-F06C14A610CF}"/>
              </a:ext>
            </a:extLst>
          </p:cNvPr>
          <p:cNvSpPr/>
          <p:nvPr/>
        </p:nvSpPr>
        <p:spPr bwMode="gray">
          <a:xfrm>
            <a:off x="8497464" y="225860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Enterprise Architect III</a:t>
            </a:r>
          </a:p>
        </p:txBody>
      </p:sp>
      <p:sp>
        <p:nvSpPr>
          <p:cNvPr id="82" name="Rectangle 81">
            <a:extLst>
              <a:ext uri="{FF2B5EF4-FFF2-40B4-BE49-F238E27FC236}">
                <a16:creationId xmlns:a16="http://schemas.microsoft.com/office/drawing/2014/main" xmlns="" id="{1DB52725-2095-41F2-9A08-54B7034C5D7F}"/>
              </a:ext>
            </a:extLst>
          </p:cNvPr>
          <p:cNvSpPr/>
          <p:nvPr/>
        </p:nvSpPr>
        <p:spPr bwMode="gray">
          <a:xfrm>
            <a:off x="9132351" y="267226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Product Manager</a:t>
            </a:r>
          </a:p>
        </p:txBody>
      </p:sp>
      <p:sp>
        <p:nvSpPr>
          <p:cNvPr id="83" name="Rectangle 82">
            <a:extLst>
              <a:ext uri="{FF2B5EF4-FFF2-40B4-BE49-F238E27FC236}">
                <a16:creationId xmlns:a16="http://schemas.microsoft.com/office/drawing/2014/main" xmlns="" id="{8153941A-E8D3-4E2D-8AAE-F5EF5A174016}"/>
              </a:ext>
            </a:extLst>
          </p:cNvPr>
          <p:cNvSpPr/>
          <p:nvPr/>
        </p:nvSpPr>
        <p:spPr bwMode="gray">
          <a:xfrm>
            <a:off x="9132351" y="225860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Sr. Product Manager</a:t>
            </a:r>
          </a:p>
        </p:txBody>
      </p:sp>
      <p:sp>
        <p:nvSpPr>
          <p:cNvPr id="79" name="Rectangle 78">
            <a:extLst>
              <a:ext uri="{FF2B5EF4-FFF2-40B4-BE49-F238E27FC236}">
                <a16:creationId xmlns:a16="http://schemas.microsoft.com/office/drawing/2014/main" xmlns="" id="{D13EBA84-2D57-4EEE-AA59-56AF887AFF42}"/>
              </a:ext>
            </a:extLst>
          </p:cNvPr>
          <p:cNvSpPr/>
          <p:nvPr/>
        </p:nvSpPr>
        <p:spPr bwMode="gray">
          <a:xfrm>
            <a:off x="2770776" y="474059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Business Analyst I</a:t>
            </a:r>
          </a:p>
        </p:txBody>
      </p:sp>
      <p:sp>
        <p:nvSpPr>
          <p:cNvPr id="80" name="Rectangle 79">
            <a:extLst>
              <a:ext uri="{FF2B5EF4-FFF2-40B4-BE49-F238E27FC236}">
                <a16:creationId xmlns:a16="http://schemas.microsoft.com/office/drawing/2014/main" xmlns="" id="{4E8BDCA5-A20B-4820-B002-AC347D10B8C2}"/>
              </a:ext>
            </a:extLst>
          </p:cNvPr>
          <p:cNvSpPr/>
          <p:nvPr/>
        </p:nvSpPr>
        <p:spPr bwMode="gray">
          <a:xfrm>
            <a:off x="2770776" y="391326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Business Analyst III</a:t>
            </a:r>
          </a:p>
        </p:txBody>
      </p:sp>
      <p:sp>
        <p:nvSpPr>
          <p:cNvPr id="81" name="Rectangle 80">
            <a:extLst>
              <a:ext uri="{FF2B5EF4-FFF2-40B4-BE49-F238E27FC236}">
                <a16:creationId xmlns:a16="http://schemas.microsoft.com/office/drawing/2014/main" xmlns="" id="{A20B74CB-D31B-439B-9B98-D1D6E13F4872}"/>
              </a:ext>
            </a:extLst>
          </p:cNvPr>
          <p:cNvSpPr/>
          <p:nvPr/>
        </p:nvSpPr>
        <p:spPr bwMode="gray">
          <a:xfrm>
            <a:off x="2770776" y="432692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Business Analyst II</a:t>
            </a:r>
          </a:p>
        </p:txBody>
      </p:sp>
      <p:sp>
        <p:nvSpPr>
          <p:cNvPr id="78" name="Rectangle 77">
            <a:extLst>
              <a:ext uri="{FF2B5EF4-FFF2-40B4-BE49-F238E27FC236}">
                <a16:creationId xmlns:a16="http://schemas.microsoft.com/office/drawing/2014/main" xmlns="" id="{11CFBE2B-68FA-4C62-B930-DDA415014857}"/>
              </a:ext>
            </a:extLst>
          </p:cNvPr>
          <p:cNvSpPr/>
          <p:nvPr/>
        </p:nvSpPr>
        <p:spPr bwMode="gray">
          <a:xfrm>
            <a:off x="2770776" y="349959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Business Analyst IV</a:t>
            </a:r>
          </a:p>
        </p:txBody>
      </p:sp>
      <p:sp>
        <p:nvSpPr>
          <p:cNvPr id="74" name="Rectangle 73">
            <a:extLst>
              <a:ext uri="{FF2B5EF4-FFF2-40B4-BE49-F238E27FC236}">
                <a16:creationId xmlns:a16="http://schemas.microsoft.com/office/drawing/2014/main" xmlns="" id="{294A7BF4-9AED-4FC3-BB00-47A7A463F76E}"/>
              </a:ext>
            </a:extLst>
          </p:cNvPr>
          <p:cNvSpPr/>
          <p:nvPr/>
        </p:nvSpPr>
        <p:spPr bwMode="gray">
          <a:xfrm>
            <a:off x="3406708" y="474059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Data</a:t>
            </a:r>
            <a:br>
              <a:rPr lang="en-US" sz="700" dirty="0">
                <a:solidFill>
                  <a:schemeClr val="tx1"/>
                </a:solidFill>
              </a:rPr>
            </a:br>
            <a:r>
              <a:rPr lang="en-US" sz="700" dirty="0">
                <a:solidFill>
                  <a:schemeClr val="tx1"/>
                </a:solidFill>
              </a:rPr>
              <a:t>Analyst I</a:t>
            </a:r>
          </a:p>
        </p:txBody>
      </p:sp>
      <p:sp>
        <p:nvSpPr>
          <p:cNvPr id="75" name="Rectangle 74">
            <a:extLst>
              <a:ext uri="{FF2B5EF4-FFF2-40B4-BE49-F238E27FC236}">
                <a16:creationId xmlns:a16="http://schemas.microsoft.com/office/drawing/2014/main" xmlns="" id="{E93A9D62-3844-4D21-BE7C-CC535F479936}"/>
              </a:ext>
            </a:extLst>
          </p:cNvPr>
          <p:cNvSpPr/>
          <p:nvPr/>
        </p:nvSpPr>
        <p:spPr bwMode="gray">
          <a:xfrm>
            <a:off x="3406708" y="391326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Data</a:t>
            </a:r>
            <a:br>
              <a:rPr lang="en-US" sz="700" dirty="0">
                <a:solidFill>
                  <a:schemeClr val="tx1"/>
                </a:solidFill>
              </a:rPr>
            </a:br>
            <a:r>
              <a:rPr lang="en-US" sz="700" dirty="0">
                <a:solidFill>
                  <a:schemeClr val="tx1"/>
                </a:solidFill>
              </a:rPr>
              <a:t>Analyst III</a:t>
            </a:r>
          </a:p>
        </p:txBody>
      </p:sp>
      <p:sp>
        <p:nvSpPr>
          <p:cNvPr id="76" name="Rectangle 75">
            <a:extLst>
              <a:ext uri="{FF2B5EF4-FFF2-40B4-BE49-F238E27FC236}">
                <a16:creationId xmlns:a16="http://schemas.microsoft.com/office/drawing/2014/main" xmlns="" id="{83DE2BB3-748E-49B0-8F1A-D4343F0D7A9D}"/>
              </a:ext>
            </a:extLst>
          </p:cNvPr>
          <p:cNvSpPr/>
          <p:nvPr/>
        </p:nvSpPr>
        <p:spPr bwMode="gray">
          <a:xfrm>
            <a:off x="3406708" y="432692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Data</a:t>
            </a:r>
            <a:br>
              <a:rPr lang="en-US" sz="700" dirty="0">
                <a:solidFill>
                  <a:schemeClr val="tx1"/>
                </a:solidFill>
              </a:rPr>
            </a:br>
            <a:r>
              <a:rPr lang="en-US" sz="700" dirty="0">
                <a:solidFill>
                  <a:schemeClr val="tx1"/>
                </a:solidFill>
              </a:rPr>
              <a:t>Analyst II</a:t>
            </a:r>
          </a:p>
        </p:txBody>
      </p:sp>
      <p:sp>
        <p:nvSpPr>
          <p:cNvPr id="73" name="Rectangle 72">
            <a:extLst>
              <a:ext uri="{FF2B5EF4-FFF2-40B4-BE49-F238E27FC236}">
                <a16:creationId xmlns:a16="http://schemas.microsoft.com/office/drawing/2014/main" xmlns="" id="{028F9BD4-B6FD-41EF-BD0C-73630245226C}"/>
              </a:ext>
            </a:extLst>
          </p:cNvPr>
          <p:cNvSpPr/>
          <p:nvPr/>
        </p:nvSpPr>
        <p:spPr bwMode="gray">
          <a:xfrm>
            <a:off x="3406708" y="349959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Data</a:t>
            </a:r>
            <a:br>
              <a:rPr lang="en-US" sz="700" dirty="0">
                <a:solidFill>
                  <a:schemeClr val="tx1"/>
                </a:solidFill>
              </a:rPr>
            </a:br>
            <a:r>
              <a:rPr lang="en-US" sz="700" dirty="0">
                <a:solidFill>
                  <a:schemeClr val="tx1"/>
                </a:solidFill>
              </a:rPr>
              <a:t>Analyst IV</a:t>
            </a:r>
          </a:p>
        </p:txBody>
      </p:sp>
      <p:sp>
        <p:nvSpPr>
          <p:cNvPr id="69" name="Rectangle 68">
            <a:extLst>
              <a:ext uri="{FF2B5EF4-FFF2-40B4-BE49-F238E27FC236}">
                <a16:creationId xmlns:a16="http://schemas.microsoft.com/office/drawing/2014/main" xmlns="" id="{4E3BCF74-C44C-4882-BD70-D419D783CD9D}"/>
              </a:ext>
            </a:extLst>
          </p:cNvPr>
          <p:cNvSpPr/>
          <p:nvPr/>
        </p:nvSpPr>
        <p:spPr bwMode="gray">
          <a:xfrm>
            <a:off x="4042640" y="474059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Security Analyst I</a:t>
            </a:r>
          </a:p>
        </p:txBody>
      </p:sp>
      <p:sp>
        <p:nvSpPr>
          <p:cNvPr id="70" name="Rectangle 69">
            <a:extLst>
              <a:ext uri="{FF2B5EF4-FFF2-40B4-BE49-F238E27FC236}">
                <a16:creationId xmlns:a16="http://schemas.microsoft.com/office/drawing/2014/main" xmlns="" id="{1936F384-C24D-4CCD-8514-300F65EF81D1}"/>
              </a:ext>
            </a:extLst>
          </p:cNvPr>
          <p:cNvSpPr/>
          <p:nvPr/>
        </p:nvSpPr>
        <p:spPr bwMode="gray">
          <a:xfrm>
            <a:off x="4042640" y="432692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Security Analyst II</a:t>
            </a:r>
          </a:p>
        </p:txBody>
      </p:sp>
      <p:sp>
        <p:nvSpPr>
          <p:cNvPr id="71" name="Rectangle 70">
            <a:extLst>
              <a:ext uri="{FF2B5EF4-FFF2-40B4-BE49-F238E27FC236}">
                <a16:creationId xmlns:a16="http://schemas.microsoft.com/office/drawing/2014/main" xmlns="" id="{59818BBC-789C-46B4-A2C1-9973639D3D83}"/>
              </a:ext>
            </a:extLst>
          </p:cNvPr>
          <p:cNvSpPr/>
          <p:nvPr/>
        </p:nvSpPr>
        <p:spPr bwMode="gray">
          <a:xfrm>
            <a:off x="4042640" y="391326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Security Analyst III</a:t>
            </a:r>
          </a:p>
        </p:txBody>
      </p:sp>
      <p:sp>
        <p:nvSpPr>
          <p:cNvPr id="68" name="Rectangle 67">
            <a:extLst>
              <a:ext uri="{FF2B5EF4-FFF2-40B4-BE49-F238E27FC236}">
                <a16:creationId xmlns:a16="http://schemas.microsoft.com/office/drawing/2014/main" xmlns="" id="{8018B613-960E-4641-AF5A-645ACFBE813F}"/>
              </a:ext>
            </a:extLst>
          </p:cNvPr>
          <p:cNvSpPr/>
          <p:nvPr/>
        </p:nvSpPr>
        <p:spPr bwMode="gray">
          <a:xfrm>
            <a:off x="4042640" y="349959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Security Analyst IV</a:t>
            </a:r>
          </a:p>
        </p:txBody>
      </p:sp>
      <p:sp>
        <p:nvSpPr>
          <p:cNvPr id="65" name="Rectangle 64">
            <a:extLst>
              <a:ext uri="{FF2B5EF4-FFF2-40B4-BE49-F238E27FC236}">
                <a16:creationId xmlns:a16="http://schemas.microsoft.com/office/drawing/2014/main" xmlns="" id="{858F08E0-9FDB-4616-80E8-72B958C77531}"/>
              </a:ext>
            </a:extLst>
          </p:cNvPr>
          <p:cNvSpPr/>
          <p:nvPr/>
        </p:nvSpPr>
        <p:spPr bwMode="gray">
          <a:xfrm>
            <a:off x="4678572" y="474059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UX Designer I</a:t>
            </a:r>
          </a:p>
        </p:txBody>
      </p:sp>
      <p:sp>
        <p:nvSpPr>
          <p:cNvPr id="66" name="Rectangle 65">
            <a:extLst>
              <a:ext uri="{FF2B5EF4-FFF2-40B4-BE49-F238E27FC236}">
                <a16:creationId xmlns:a16="http://schemas.microsoft.com/office/drawing/2014/main" xmlns="" id="{462CAF18-C2DD-4F5E-8BB2-93123FE3A678}"/>
              </a:ext>
            </a:extLst>
          </p:cNvPr>
          <p:cNvSpPr/>
          <p:nvPr/>
        </p:nvSpPr>
        <p:spPr bwMode="gray">
          <a:xfrm>
            <a:off x="4678572" y="432692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UX</a:t>
            </a:r>
            <a:br>
              <a:rPr lang="en-US" sz="700" dirty="0">
                <a:solidFill>
                  <a:schemeClr val="tx1"/>
                </a:solidFill>
              </a:rPr>
            </a:br>
            <a:r>
              <a:rPr lang="en-US" sz="700" dirty="0">
                <a:solidFill>
                  <a:schemeClr val="tx1"/>
                </a:solidFill>
              </a:rPr>
              <a:t>Designer II </a:t>
            </a:r>
          </a:p>
        </p:txBody>
      </p:sp>
      <p:sp>
        <p:nvSpPr>
          <p:cNvPr id="64" name="Rectangle 63">
            <a:extLst>
              <a:ext uri="{FF2B5EF4-FFF2-40B4-BE49-F238E27FC236}">
                <a16:creationId xmlns:a16="http://schemas.microsoft.com/office/drawing/2014/main" xmlns="" id="{DD982C5B-ED56-46C8-B632-C36372916A4B}"/>
              </a:ext>
            </a:extLst>
          </p:cNvPr>
          <p:cNvSpPr/>
          <p:nvPr/>
        </p:nvSpPr>
        <p:spPr bwMode="gray">
          <a:xfrm>
            <a:off x="4678572" y="391326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UX</a:t>
            </a:r>
            <a:br>
              <a:rPr lang="en-US" sz="700" dirty="0">
                <a:solidFill>
                  <a:schemeClr val="tx1"/>
                </a:solidFill>
              </a:rPr>
            </a:br>
            <a:r>
              <a:rPr lang="en-US" sz="700" dirty="0">
                <a:solidFill>
                  <a:schemeClr val="tx1"/>
                </a:solidFill>
              </a:rPr>
              <a:t>Designer III</a:t>
            </a:r>
          </a:p>
        </p:txBody>
      </p:sp>
      <p:sp>
        <p:nvSpPr>
          <p:cNvPr id="62" name="Rectangle 61">
            <a:extLst>
              <a:ext uri="{FF2B5EF4-FFF2-40B4-BE49-F238E27FC236}">
                <a16:creationId xmlns:a16="http://schemas.microsoft.com/office/drawing/2014/main" xmlns="" id="{F6EB6589-3452-440A-AC91-2B4B4A867BBB}"/>
              </a:ext>
            </a:extLst>
          </p:cNvPr>
          <p:cNvSpPr/>
          <p:nvPr/>
        </p:nvSpPr>
        <p:spPr bwMode="gray">
          <a:xfrm>
            <a:off x="4678572" y="349959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UX</a:t>
            </a:r>
            <a:br>
              <a:rPr lang="en-US" sz="700" dirty="0">
                <a:solidFill>
                  <a:schemeClr val="tx1"/>
                </a:solidFill>
              </a:rPr>
            </a:br>
            <a:r>
              <a:rPr lang="en-US" sz="700" dirty="0">
                <a:solidFill>
                  <a:schemeClr val="tx1"/>
                </a:solidFill>
              </a:rPr>
              <a:t>Designer IV</a:t>
            </a:r>
          </a:p>
        </p:txBody>
      </p:sp>
      <p:sp>
        <p:nvSpPr>
          <p:cNvPr id="59" name="Rectangle 58">
            <a:extLst>
              <a:ext uri="{FF2B5EF4-FFF2-40B4-BE49-F238E27FC236}">
                <a16:creationId xmlns:a16="http://schemas.microsoft.com/office/drawing/2014/main" xmlns="" id="{53AAF129-BA42-45DA-A970-CE7170A2429D}"/>
              </a:ext>
            </a:extLst>
          </p:cNvPr>
          <p:cNvSpPr/>
          <p:nvPr/>
        </p:nvSpPr>
        <p:spPr bwMode="gray">
          <a:xfrm>
            <a:off x="11037888" y="184493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Director</a:t>
            </a:r>
          </a:p>
        </p:txBody>
      </p:sp>
      <p:sp>
        <p:nvSpPr>
          <p:cNvPr id="60" name="Rectangle 59">
            <a:extLst>
              <a:ext uri="{FF2B5EF4-FFF2-40B4-BE49-F238E27FC236}">
                <a16:creationId xmlns:a16="http://schemas.microsoft.com/office/drawing/2014/main" xmlns="" id="{941E71DF-A7A0-4E98-BE6C-51EF00F9DE5A}"/>
              </a:ext>
            </a:extLst>
          </p:cNvPr>
          <p:cNvSpPr/>
          <p:nvPr/>
        </p:nvSpPr>
        <p:spPr bwMode="gray">
          <a:xfrm>
            <a:off x="11037888" y="225860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Sr. Manager</a:t>
            </a:r>
          </a:p>
        </p:txBody>
      </p:sp>
      <p:sp>
        <p:nvSpPr>
          <p:cNvPr id="57" name="Rectangle 56">
            <a:extLst>
              <a:ext uri="{FF2B5EF4-FFF2-40B4-BE49-F238E27FC236}">
                <a16:creationId xmlns:a16="http://schemas.microsoft.com/office/drawing/2014/main" xmlns="" id="{294268B3-CFD9-4869-A984-FB47397B7E0D}"/>
              </a:ext>
            </a:extLst>
          </p:cNvPr>
          <p:cNvSpPr/>
          <p:nvPr/>
        </p:nvSpPr>
        <p:spPr bwMode="gray">
          <a:xfrm>
            <a:off x="11037888" y="143127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VP</a:t>
            </a:r>
          </a:p>
        </p:txBody>
      </p:sp>
      <p:sp>
        <p:nvSpPr>
          <p:cNvPr id="54" name="Rectangle 53">
            <a:extLst>
              <a:ext uri="{FF2B5EF4-FFF2-40B4-BE49-F238E27FC236}">
                <a16:creationId xmlns:a16="http://schemas.microsoft.com/office/drawing/2014/main" xmlns="" id="{DB92FB35-D897-4A29-BFAF-02FB8B20E59D}"/>
              </a:ext>
            </a:extLst>
          </p:cNvPr>
          <p:cNvSpPr/>
          <p:nvPr/>
        </p:nvSpPr>
        <p:spPr bwMode="gray">
          <a:xfrm>
            <a:off x="10402125" y="225860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Tech.</a:t>
            </a:r>
            <a:br>
              <a:rPr lang="en-US" sz="700" dirty="0">
                <a:solidFill>
                  <a:schemeClr val="tx1"/>
                </a:solidFill>
              </a:rPr>
            </a:br>
            <a:r>
              <a:rPr lang="en-US" sz="700" dirty="0">
                <a:solidFill>
                  <a:schemeClr val="tx1"/>
                </a:solidFill>
              </a:rPr>
              <a:t>Principal I</a:t>
            </a:r>
          </a:p>
        </p:txBody>
      </p:sp>
      <p:sp>
        <p:nvSpPr>
          <p:cNvPr id="55" name="Rectangle 54">
            <a:extLst>
              <a:ext uri="{FF2B5EF4-FFF2-40B4-BE49-F238E27FC236}">
                <a16:creationId xmlns:a16="http://schemas.microsoft.com/office/drawing/2014/main" xmlns="" id="{BCBEAA34-04B0-469B-B05F-858D0BD12ED2}"/>
              </a:ext>
            </a:extLst>
          </p:cNvPr>
          <p:cNvSpPr/>
          <p:nvPr/>
        </p:nvSpPr>
        <p:spPr bwMode="gray">
          <a:xfrm>
            <a:off x="10402125" y="184493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Tech.</a:t>
            </a:r>
            <a:br>
              <a:rPr lang="en-US" sz="700" dirty="0">
                <a:solidFill>
                  <a:schemeClr val="tx1"/>
                </a:solidFill>
              </a:rPr>
            </a:br>
            <a:r>
              <a:rPr lang="en-US" sz="700" dirty="0">
                <a:solidFill>
                  <a:schemeClr val="tx1"/>
                </a:solidFill>
              </a:rPr>
              <a:t>Principal II</a:t>
            </a:r>
          </a:p>
        </p:txBody>
      </p:sp>
      <p:sp>
        <p:nvSpPr>
          <p:cNvPr id="31" name="Rectangle 30">
            <a:extLst>
              <a:ext uri="{FF2B5EF4-FFF2-40B4-BE49-F238E27FC236}">
                <a16:creationId xmlns:a16="http://schemas.microsoft.com/office/drawing/2014/main" xmlns="" id="{EF497173-42C8-46B9-829E-52E14FABF0C3}"/>
              </a:ext>
            </a:extLst>
          </p:cNvPr>
          <p:cNvSpPr/>
          <p:nvPr/>
        </p:nvSpPr>
        <p:spPr bwMode="gray">
          <a:xfrm>
            <a:off x="11183564" y="63986"/>
            <a:ext cx="954107" cy="276999"/>
          </a:xfrm>
          <a:prstGeom prst="rect">
            <a:avLst/>
          </a:prstGeom>
        </p:spPr>
        <p:txBody>
          <a:bodyPr wrap="none">
            <a:spAutoFit/>
          </a:bodyPr>
          <a:lstStyle/>
          <a:p>
            <a:r>
              <a:rPr lang="en-US" sz="1200" b="1" i="1" dirty="0">
                <a:solidFill>
                  <a:srgbClr val="002856"/>
                </a:solidFill>
              </a:rPr>
              <a:t>Illustrative</a:t>
            </a:r>
            <a:endParaRPr lang="en-US" sz="1200" i="1" dirty="0"/>
          </a:p>
        </p:txBody>
      </p:sp>
      <p:sp>
        <p:nvSpPr>
          <p:cNvPr id="32" name="Rectangle 31">
            <a:extLst>
              <a:ext uri="{FF2B5EF4-FFF2-40B4-BE49-F238E27FC236}">
                <a16:creationId xmlns:a16="http://schemas.microsoft.com/office/drawing/2014/main" xmlns="" id="{3C5CC8EA-72C0-406A-8008-634A20EDA82E}"/>
              </a:ext>
            </a:extLst>
          </p:cNvPr>
          <p:cNvSpPr/>
          <p:nvPr/>
        </p:nvSpPr>
        <p:spPr bwMode="gray">
          <a:xfrm>
            <a:off x="514688" y="5154257"/>
            <a:ext cx="219456" cy="83805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A</a:t>
            </a:r>
          </a:p>
        </p:txBody>
      </p:sp>
      <p:sp>
        <p:nvSpPr>
          <p:cNvPr id="33" name="Rectangle 32">
            <a:extLst>
              <a:ext uri="{FF2B5EF4-FFF2-40B4-BE49-F238E27FC236}">
                <a16:creationId xmlns:a16="http://schemas.microsoft.com/office/drawing/2014/main" xmlns="" id="{9EE81BCD-8B75-48D6-B50E-B3FBF2E14759}"/>
              </a:ext>
            </a:extLst>
          </p:cNvPr>
          <p:cNvSpPr/>
          <p:nvPr/>
        </p:nvSpPr>
        <p:spPr bwMode="gray">
          <a:xfrm>
            <a:off x="514688" y="4356099"/>
            <a:ext cx="219456" cy="76835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B</a:t>
            </a:r>
          </a:p>
        </p:txBody>
      </p:sp>
      <p:sp>
        <p:nvSpPr>
          <p:cNvPr id="34" name="Rectangle 33">
            <a:extLst>
              <a:ext uri="{FF2B5EF4-FFF2-40B4-BE49-F238E27FC236}">
                <a16:creationId xmlns:a16="http://schemas.microsoft.com/office/drawing/2014/main" xmlns="" id="{15E3B816-3695-4C4D-9035-2581D405C012}"/>
              </a:ext>
            </a:extLst>
          </p:cNvPr>
          <p:cNvSpPr/>
          <p:nvPr/>
        </p:nvSpPr>
        <p:spPr bwMode="gray">
          <a:xfrm>
            <a:off x="514688" y="3143770"/>
            <a:ext cx="219456" cy="115334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C</a:t>
            </a:r>
          </a:p>
        </p:txBody>
      </p:sp>
      <p:sp>
        <p:nvSpPr>
          <p:cNvPr id="35" name="Rectangle 34">
            <a:extLst>
              <a:ext uri="{FF2B5EF4-FFF2-40B4-BE49-F238E27FC236}">
                <a16:creationId xmlns:a16="http://schemas.microsoft.com/office/drawing/2014/main" xmlns="" id="{E28EEDBE-F19C-4428-9C21-E73544D7CC12}"/>
              </a:ext>
            </a:extLst>
          </p:cNvPr>
          <p:cNvSpPr/>
          <p:nvPr/>
        </p:nvSpPr>
        <p:spPr bwMode="gray">
          <a:xfrm>
            <a:off x="514688" y="2254250"/>
            <a:ext cx="220378" cy="79313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D</a:t>
            </a:r>
          </a:p>
        </p:txBody>
      </p:sp>
      <p:sp>
        <p:nvSpPr>
          <p:cNvPr id="38" name="Rectangle 37">
            <a:extLst>
              <a:ext uri="{FF2B5EF4-FFF2-40B4-BE49-F238E27FC236}">
                <a16:creationId xmlns:a16="http://schemas.microsoft.com/office/drawing/2014/main" xmlns="" id="{4B48B50F-65C5-4852-BDD2-15CC475F0884}"/>
              </a:ext>
            </a:extLst>
          </p:cNvPr>
          <p:cNvSpPr/>
          <p:nvPr/>
        </p:nvSpPr>
        <p:spPr bwMode="gray">
          <a:xfrm>
            <a:off x="514688" y="1843618"/>
            <a:ext cx="220378" cy="328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E</a:t>
            </a:r>
          </a:p>
        </p:txBody>
      </p:sp>
      <p:sp>
        <p:nvSpPr>
          <p:cNvPr id="40" name="Rectangle 39">
            <a:extLst>
              <a:ext uri="{FF2B5EF4-FFF2-40B4-BE49-F238E27FC236}">
                <a16:creationId xmlns:a16="http://schemas.microsoft.com/office/drawing/2014/main" xmlns="" id="{5EFE2004-5845-4978-9674-D96937761916}"/>
              </a:ext>
            </a:extLst>
          </p:cNvPr>
          <p:cNvSpPr/>
          <p:nvPr/>
        </p:nvSpPr>
        <p:spPr bwMode="gray">
          <a:xfrm>
            <a:off x="514688" y="1306502"/>
            <a:ext cx="220378" cy="46724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F</a:t>
            </a:r>
          </a:p>
        </p:txBody>
      </p:sp>
      <p:cxnSp>
        <p:nvCxnSpPr>
          <p:cNvPr id="41" name="Straight Connector 40">
            <a:extLst>
              <a:ext uri="{FF2B5EF4-FFF2-40B4-BE49-F238E27FC236}">
                <a16:creationId xmlns:a16="http://schemas.microsoft.com/office/drawing/2014/main" xmlns="" id="{DC10044B-F32B-484A-91F5-F616EC4A727F}"/>
              </a:ext>
            </a:extLst>
          </p:cNvPr>
          <p:cNvCxnSpPr>
            <a:cxnSpLocks/>
          </p:cNvCxnSpPr>
          <p:nvPr/>
        </p:nvCxnSpPr>
        <p:spPr bwMode="gray">
          <a:xfrm>
            <a:off x="507683" y="1809671"/>
            <a:ext cx="9852728" cy="32295"/>
          </a:xfrm>
          <a:prstGeom prst="line">
            <a:avLst/>
          </a:prstGeom>
          <a:ln w="9525">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xmlns="" id="{22F7509A-CE81-4B66-A0AE-0581E73A270E}"/>
              </a:ext>
            </a:extLst>
          </p:cNvPr>
          <p:cNvSpPr/>
          <p:nvPr/>
        </p:nvSpPr>
        <p:spPr bwMode="gray">
          <a:xfrm>
            <a:off x="7963972" y="5181507"/>
            <a:ext cx="3669228" cy="701598"/>
          </a:xfrm>
          <a:prstGeom prst="rect">
            <a:avLst/>
          </a:prstGeom>
        </p:spPr>
        <p:txBody>
          <a:bodyPr wrap="square" lIns="0" tIns="0" rIns="0" bIns="0">
            <a:noAutofit/>
          </a:bodyPr>
          <a:lstStyle/>
          <a:p>
            <a:pPr marL="173038" indent="-173038">
              <a:buClr>
                <a:srgbClr val="002856"/>
              </a:buClr>
              <a:buFont typeface="Wingdings" panose="05000000000000000000" pitchFamily="2" charset="2"/>
              <a:buChar char="§"/>
            </a:pPr>
            <a:r>
              <a:rPr lang="en-US" sz="1050" dirty="0"/>
              <a:t>Compensation bands or job grades can be added to the</a:t>
            </a:r>
            <a:br>
              <a:rPr lang="en-US" sz="1050" dirty="0"/>
            </a:br>
            <a:r>
              <a:rPr lang="en-US" sz="1050" dirty="0"/>
              <a:t>y-axis of the career ladder charts</a:t>
            </a:r>
          </a:p>
          <a:p>
            <a:pPr marL="173038" indent="-173038">
              <a:buClr>
                <a:srgbClr val="002856"/>
              </a:buClr>
              <a:buFont typeface="Wingdings" panose="05000000000000000000" pitchFamily="2" charset="2"/>
              <a:buChar char="§"/>
            </a:pPr>
            <a:r>
              <a:rPr lang="en-US" sz="1050" dirty="0"/>
              <a:t>Work with HR to evaluate jobs and place into appropriate pay bands/grades</a:t>
            </a:r>
          </a:p>
        </p:txBody>
      </p:sp>
      <p:sp>
        <p:nvSpPr>
          <p:cNvPr id="43" name="TextBox 42">
            <a:extLst>
              <a:ext uri="{FF2B5EF4-FFF2-40B4-BE49-F238E27FC236}">
                <a16:creationId xmlns:a16="http://schemas.microsoft.com/office/drawing/2014/main" xmlns="" id="{99C42FA2-7DB6-4617-B78F-6FB661303A7D}"/>
              </a:ext>
            </a:extLst>
          </p:cNvPr>
          <p:cNvSpPr txBox="1"/>
          <p:nvPr/>
        </p:nvSpPr>
        <p:spPr bwMode="gray">
          <a:xfrm flipH="1">
            <a:off x="957885" y="1246914"/>
            <a:ext cx="526975" cy="307777"/>
          </a:xfrm>
          <a:prstGeom prst="rect">
            <a:avLst/>
          </a:prstGeom>
          <a:noFill/>
        </p:spPr>
        <p:txBody>
          <a:bodyPr wrap="square" lIns="0" tIns="45720" rIns="0" bIns="45720" rtlCol="0">
            <a:spAutoFit/>
          </a:bodyPr>
          <a:lstStyle/>
          <a:p>
            <a:pPr algn="ctr"/>
            <a:r>
              <a:rPr lang="en-US" sz="700" b="1" dirty="0">
                <a:latin typeface="+mj-lt"/>
              </a:rPr>
              <a:t>Tech Support</a:t>
            </a:r>
          </a:p>
        </p:txBody>
      </p:sp>
      <p:sp>
        <p:nvSpPr>
          <p:cNvPr id="44" name="TextBox 43">
            <a:extLst>
              <a:ext uri="{FF2B5EF4-FFF2-40B4-BE49-F238E27FC236}">
                <a16:creationId xmlns:a16="http://schemas.microsoft.com/office/drawing/2014/main" xmlns="" id="{83FF0A65-C982-4FBE-80E4-5127277A04E2}"/>
              </a:ext>
            </a:extLst>
          </p:cNvPr>
          <p:cNvSpPr txBox="1"/>
          <p:nvPr/>
        </p:nvSpPr>
        <p:spPr bwMode="gray">
          <a:xfrm flipH="1">
            <a:off x="1555312" y="1246914"/>
            <a:ext cx="1041877" cy="307777"/>
          </a:xfrm>
          <a:prstGeom prst="rect">
            <a:avLst/>
          </a:prstGeom>
          <a:noFill/>
        </p:spPr>
        <p:txBody>
          <a:bodyPr wrap="square" lIns="0" tIns="45720" rIns="0" bIns="45720" rtlCol="0">
            <a:spAutoFit/>
          </a:bodyPr>
          <a:lstStyle/>
          <a:p>
            <a:pPr algn="ctr"/>
            <a:r>
              <a:rPr lang="en-US" sz="700" b="1" dirty="0">
                <a:latin typeface="+mj-lt"/>
              </a:rPr>
              <a:t>Tech</a:t>
            </a:r>
            <a:br>
              <a:rPr lang="en-US" sz="700" b="1" dirty="0">
                <a:latin typeface="+mj-lt"/>
              </a:rPr>
            </a:br>
            <a:r>
              <a:rPr lang="en-US" sz="700" b="1" dirty="0">
                <a:latin typeface="+mj-lt"/>
              </a:rPr>
              <a:t>Administration</a:t>
            </a:r>
          </a:p>
        </p:txBody>
      </p:sp>
      <p:sp>
        <p:nvSpPr>
          <p:cNvPr id="45" name="TextBox 44">
            <a:extLst>
              <a:ext uri="{FF2B5EF4-FFF2-40B4-BE49-F238E27FC236}">
                <a16:creationId xmlns:a16="http://schemas.microsoft.com/office/drawing/2014/main" xmlns="" id="{C49079A6-B2D8-478D-B1EE-D15F76609160}"/>
              </a:ext>
            </a:extLst>
          </p:cNvPr>
          <p:cNvSpPr txBox="1"/>
          <p:nvPr/>
        </p:nvSpPr>
        <p:spPr bwMode="gray">
          <a:xfrm flipH="1">
            <a:off x="3259554" y="1246914"/>
            <a:ext cx="669578" cy="200055"/>
          </a:xfrm>
          <a:prstGeom prst="rect">
            <a:avLst/>
          </a:prstGeom>
          <a:noFill/>
        </p:spPr>
        <p:txBody>
          <a:bodyPr wrap="square" lIns="0" tIns="45720" rIns="0" bIns="45720" rtlCol="0">
            <a:spAutoFit/>
          </a:bodyPr>
          <a:lstStyle/>
          <a:p>
            <a:pPr algn="ctr"/>
            <a:r>
              <a:rPr lang="en-US" sz="700" b="1" dirty="0">
                <a:latin typeface="+mj-lt"/>
              </a:rPr>
              <a:t>Analysis</a:t>
            </a:r>
          </a:p>
        </p:txBody>
      </p:sp>
      <p:sp>
        <p:nvSpPr>
          <p:cNvPr id="46" name="TextBox 45">
            <a:extLst>
              <a:ext uri="{FF2B5EF4-FFF2-40B4-BE49-F238E27FC236}">
                <a16:creationId xmlns:a16="http://schemas.microsoft.com/office/drawing/2014/main" xmlns="" id="{8E3C0441-2E0E-445A-91D7-CDC2CA0AE1BD}"/>
              </a:ext>
            </a:extLst>
          </p:cNvPr>
          <p:cNvSpPr txBox="1"/>
          <p:nvPr/>
        </p:nvSpPr>
        <p:spPr bwMode="gray">
          <a:xfrm flipH="1">
            <a:off x="4471218" y="1246914"/>
            <a:ext cx="669578" cy="200055"/>
          </a:xfrm>
          <a:prstGeom prst="rect">
            <a:avLst/>
          </a:prstGeom>
          <a:noFill/>
        </p:spPr>
        <p:txBody>
          <a:bodyPr wrap="square" lIns="0" tIns="45720" rIns="0" bIns="45720" rtlCol="0">
            <a:spAutoFit/>
          </a:bodyPr>
          <a:lstStyle/>
          <a:p>
            <a:pPr algn="ctr"/>
            <a:r>
              <a:rPr lang="en-US" sz="700" b="1" dirty="0">
                <a:latin typeface="+mj-lt"/>
              </a:rPr>
              <a:t>UX</a:t>
            </a:r>
          </a:p>
        </p:txBody>
      </p:sp>
      <p:sp>
        <p:nvSpPr>
          <p:cNvPr id="47" name="TextBox 46">
            <a:extLst>
              <a:ext uri="{FF2B5EF4-FFF2-40B4-BE49-F238E27FC236}">
                <a16:creationId xmlns:a16="http://schemas.microsoft.com/office/drawing/2014/main" xmlns="" id="{263F552E-88FE-4AC5-BAF7-B39231E58217}"/>
              </a:ext>
            </a:extLst>
          </p:cNvPr>
          <p:cNvSpPr txBox="1"/>
          <p:nvPr/>
        </p:nvSpPr>
        <p:spPr bwMode="gray">
          <a:xfrm flipH="1">
            <a:off x="6076114" y="1246914"/>
            <a:ext cx="669578" cy="200055"/>
          </a:xfrm>
          <a:prstGeom prst="rect">
            <a:avLst/>
          </a:prstGeom>
          <a:noFill/>
        </p:spPr>
        <p:txBody>
          <a:bodyPr wrap="square" lIns="0" tIns="45720" rIns="0" bIns="45720" rtlCol="0">
            <a:spAutoFit/>
          </a:bodyPr>
          <a:lstStyle/>
          <a:p>
            <a:pPr algn="ctr"/>
            <a:r>
              <a:rPr lang="en-US" sz="700" b="1" dirty="0">
                <a:latin typeface="+mj-lt"/>
              </a:rPr>
              <a:t>Engineering</a:t>
            </a:r>
          </a:p>
        </p:txBody>
      </p:sp>
      <p:sp>
        <p:nvSpPr>
          <p:cNvPr id="48" name="TextBox 47">
            <a:extLst>
              <a:ext uri="{FF2B5EF4-FFF2-40B4-BE49-F238E27FC236}">
                <a16:creationId xmlns:a16="http://schemas.microsoft.com/office/drawing/2014/main" xmlns="" id="{5B17C433-33DF-4C32-8FAD-BC9387BBDA68}"/>
              </a:ext>
            </a:extLst>
          </p:cNvPr>
          <p:cNvSpPr txBox="1"/>
          <p:nvPr/>
        </p:nvSpPr>
        <p:spPr bwMode="gray">
          <a:xfrm flipH="1">
            <a:off x="7864726" y="1246914"/>
            <a:ext cx="1187220" cy="200055"/>
          </a:xfrm>
          <a:prstGeom prst="rect">
            <a:avLst/>
          </a:prstGeom>
          <a:noFill/>
        </p:spPr>
        <p:txBody>
          <a:bodyPr wrap="square" lIns="0" tIns="45720" rIns="0" bIns="45720" rtlCol="0">
            <a:spAutoFit/>
          </a:bodyPr>
          <a:lstStyle/>
          <a:p>
            <a:pPr algn="ctr"/>
            <a:r>
              <a:rPr lang="en-US" sz="700" b="1" dirty="0">
                <a:latin typeface="+mj-lt"/>
              </a:rPr>
              <a:t>Architecture</a:t>
            </a:r>
          </a:p>
        </p:txBody>
      </p:sp>
      <p:sp>
        <p:nvSpPr>
          <p:cNvPr id="52" name="Rectangle 51">
            <a:extLst>
              <a:ext uri="{FF2B5EF4-FFF2-40B4-BE49-F238E27FC236}">
                <a16:creationId xmlns:a16="http://schemas.microsoft.com/office/drawing/2014/main" xmlns="" id="{7116C9D6-6DCE-4E20-85C4-05E4F1DF5934}"/>
              </a:ext>
            </a:extLst>
          </p:cNvPr>
          <p:cNvSpPr/>
          <p:nvPr/>
        </p:nvSpPr>
        <p:spPr bwMode="gray">
          <a:xfrm>
            <a:off x="9767238" y="267226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Platform Manager</a:t>
            </a:r>
          </a:p>
        </p:txBody>
      </p:sp>
      <p:sp>
        <p:nvSpPr>
          <p:cNvPr id="53" name="Rectangle 52">
            <a:extLst>
              <a:ext uri="{FF2B5EF4-FFF2-40B4-BE49-F238E27FC236}">
                <a16:creationId xmlns:a16="http://schemas.microsoft.com/office/drawing/2014/main" xmlns="" id="{1485FE4D-4C53-4120-882E-D3F627D26385}"/>
              </a:ext>
            </a:extLst>
          </p:cNvPr>
          <p:cNvSpPr/>
          <p:nvPr/>
        </p:nvSpPr>
        <p:spPr bwMode="gray">
          <a:xfrm>
            <a:off x="9767238" y="2258603"/>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Sr. Platform</a:t>
            </a:r>
          </a:p>
          <a:p>
            <a:pPr algn="ctr"/>
            <a:r>
              <a:rPr lang="en-US" sz="700" dirty="0">
                <a:solidFill>
                  <a:schemeClr val="tx1"/>
                </a:solidFill>
              </a:rPr>
              <a:t>Manager</a:t>
            </a:r>
          </a:p>
        </p:txBody>
      </p:sp>
      <p:sp>
        <p:nvSpPr>
          <p:cNvPr id="50" name="TextBox 49">
            <a:extLst>
              <a:ext uri="{FF2B5EF4-FFF2-40B4-BE49-F238E27FC236}">
                <a16:creationId xmlns:a16="http://schemas.microsoft.com/office/drawing/2014/main" xmlns="" id="{1A27ED9B-49C5-4283-9151-6AC120CA8DF9}"/>
              </a:ext>
            </a:extLst>
          </p:cNvPr>
          <p:cNvSpPr txBox="1"/>
          <p:nvPr/>
        </p:nvSpPr>
        <p:spPr bwMode="gray">
          <a:xfrm flipH="1">
            <a:off x="9136591" y="1246914"/>
            <a:ext cx="1187219" cy="307777"/>
          </a:xfrm>
          <a:prstGeom prst="rect">
            <a:avLst/>
          </a:prstGeom>
          <a:noFill/>
        </p:spPr>
        <p:txBody>
          <a:bodyPr wrap="square" lIns="0" rIns="0" rtlCol="0" anchor="ctr">
            <a:spAutoFit/>
          </a:bodyPr>
          <a:lstStyle/>
          <a:p>
            <a:pPr algn="ctr"/>
            <a:r>
              <a:rPr lang="en-US" sz="700" b="1" dirty="0">
                <a:latin typeface="+mj-lt"/>
              </a:rPr>
              <a:t>Product &amp; Platform Management</a:t>
            </a:r>
          </a:p>
        </p:txBody>
      </p:sp>
      <p:sp>
        <p:nvSpPr>
          <p:cNvPr id="51" name="TextBox 50">
            <a:extLst>
              <a:ext uri="{FF2B5EF4-FFF2-40B4-BE49-F238E27FC236}">
                <a16:creationId xmlns:a16="http://schemas.microsoft.com/office/drawing/2014/main" xmlns="" id="{F7A85736-E646-4415-8226-BC2F28A27049}"/>
              </a:ext>
            </a:extLst>
          </p:cNvPr>
          <p:cNvSpPr txBox="1"/>
          <p:nvPr/>
        </p:nvSpPr>
        <p:spPr bwMode="gray">
          <a:xfrm flipH="1">
            <a:off x="10408454" y="1246914"/>
            <a:ext cx="1187218" cy="200055"/>
          </a:xfrm>
          <a:prstGeom prst="rect">
            <a:avLst/>
          </a:prstGeom>
          <a:noFill/>
        </p:spPr>
        <p:txBody>
          <a:bodyPr wrap="square" lIns="0" tIns="45720" rIns="0" bIns="45720" rtlCol="0" anchor="ctr">
            <a:spAutoFit/>
          </a:bodyPr>
          <a:lstStyle/>
          <a:p>
            <a:pPr algn="ctr"/>
            <a:r>
              <a:rPr lang="en-US" sz="700" b="1" dirty="0">
                <a:latin typeface="+mj-lt"/>
              </a:rPr>
              <a:t>Leadership</a:t>
            </a:r>
          </a:p>
        </p:txBody>
      </p:sp>
      <p:cxnSp>
        <p:nvCxnSpPr>
          <p:cNvPr id="123" name="Straight Connector 122">
            <a:extLst>
              <a:ext uri="{FF2B5EF4-FFF2-40B4-BE49-F238E27FC236}">
                <a16:creationId xmlns:a16="http://schemas.microsoft.com/office/drawing/2014/main" xmlns="" id="{634613C7-B513-46E5-B754-688A66723B90}"/>
              </a:ext>
            </a:extLst>
          </p:cNvPr>
          <p:cNvCxnSpPr>
            <a:cxnSpLocks/>
          </p:cNvCxnSpPr>
          <p:nvPr/>
        </p:nvCxnSpPr>
        <p:spPr bwMode="gray">
          <a:xfrm>
            <a:off x="507683" y="2211855"/>
            <a:ext cx="7986481" cy="26177"/>
          </a:xfrm>
          <a:prstGeom prst="line">
            <a:avLst/>
          </a:prstGeom>
          <a:ln w="9525">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xmlns="" id="{4C1D3B6F-48B8-4E05-B65C-080312561C44}"/>
              </a:ext>
            </a:extLst>
          </p:cNvPr>
          <p:cNvCxnSpPr>
            <a:cxnSpLocks/>
          </p:cNvCxnSpPr>
          <p:nvPr/>
        </p:nvCxnSpPr>
        <p:spPr bwMode="gray">
          <a:xfrm>
            <a:off x="507683" y="3103532"/>
            <a:ext cx="4753292" cy="0"/>
          </a:xfrm>
          <a:prstGeom prst="line">
            <a:avLst/>
          </a:prstGeom>
          <a:ln w="9525">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xmlns="" id="{B027EAFA-6FD6-47D3-9F3E-7AB6C9CD0EAA}"/>
              </a:ext>
            </a:extLst>
          </p:cNvPr>
          <p:cNvCxnSpPr>
            <a:cxnSpLocks/>
          </p:cNvCxnSpPr>
          <p:nvPr/>
        </p:nvCxnSpPr>
        <p:spPr bwMode="gray">
          <a:xfrm>
            <a:off x="507683" y="4326928"/>
            <a:ext cx="951230" cy="0"/>
          </a:xfrm>
          <a:prstGeom prst="line">
            <a:avLst/>
          </a:prstGeom>
          <a:ln w="9525">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130" name="Rectangle 129">
            <a:extLst>
              <a:ext uri="{FF2B5EF4-FFF2-40B4-BE49-F238E27FC236}">
                <a16:creationId xmlns:a16="http://schemas.microsoft.com/office/drawing/2014/main" xmlns="" id="{4F67C0F9-F54F-479E-9180-847C271016F1}"/>
              </a:ext>
            </a:extLst>
          </p:cNvPr>
          <p:cNvSpPr/>
          <p:nvPr/>
        </p:nvSpPr>
        <p:spPr bwMode="gray">
          <a:xfrm>
            <a:off x="11037888" y="2672268"/>
            <a:ext cx="557784" cy="347472"/>
          </a:xfrm>
          <a:prstGeom prst="rect">
            <a:avLst/>
          </a:prstGeom>
          <a:solidFill>
            <a:schemeClr val="bg1">
              <a:lumMod val="9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700" dirty="0">
                <a:solidFill>
                  <a:schemeClr val="tx1"/>
                </a:solidFill>
              </a:rPr>
              <a:t>Manager</a:t>
            </a:r>
          </a:p>
        </p:txBody>
      </p:sp>
    </p:spTree>
    <p:extLst>
      <p:ext uri="{BB962C8B-B14F-4D97-AF65-F5344CB8AC3E}">
        <p14:creationId xmlns:p14="http://schemas.microsoft.com/office/powerpoint/2010/main" val="12103181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79tgn0GtALYFC.EURZzi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Hfyx2VgXEGeFvcoT5Bh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axcP92txcojJ7snJONsx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rMOtCLuMrM1HTXNfb9M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nPIkDxPqkiOeauKjddR4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2vzoxl0qlzhXuu.mxol_p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xAtFQJY2E17pEcszHhta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MElRmTQ4VHaAsYw9aEYV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BirTToLMazDKDGS2LReaI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blank.potx" id="{A6326CD3-4DCB-4A04-AF13-9CA97975E993}" vid="{CCC959B3-365A-4116-BEB6-33E12983DE0E}"/>
    </a:ext>
  </a:extLst>
</a:theme>
</file>

<file path=ppt/theme/theme2.xml><?xml version="1.0" encoding="utf-8"?>
<a:theme xmlns:a="http://schemas.openxmlformats.org/drawingml/2006/main" name="Blue bkgrnd master">
  <a:themeElements>
    <a:clrScheme name="Gartner Blue Bkgrnd">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A6326CD3-4DCB-4A04-AF13-9CA97975E993}" vid="{F80AFD8A-6115-4AAA-8149-24FE882CA06C}"/>
    </a:ext>
  </a:extLst>
</a:theme>
</file>

<file path=ppt/theme/theme3.xml><?xml version="1.0" encoding="utf-8"?>
<a:theme xmlns:a="http://schemas.openxmlformats.org/drawingml/2006/main" name="White bk accent color options">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A6326CD3-4DCB-4A04-AF13-9CA97975E993}" vid="{6A5F71A1-AAE1-4301-A217-E792D46E61D7}"/>
    </a:ext>
  </a:extLst>
</a:theme>
</file>

<file path=ppt/theme/theme4.xml><?xml version="1.0" encoding="utf-8"?>
<a:theme xmlns:a="http://schemas.openxmlformats.org/drawingml/2006/main" name="Blue bk accent color options">
  <a:themeElements>
    <a:clrScheme name="Custom 1">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A6326CD3-4DCB-4A04-AF13-9CA97975E993}" vid="{64B17655-B866-4645-8DC1-87A7E6E2B23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artner">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1479</Words>
  <Application>Microsoft Office PowerPoint</Application>
  <PresentationFormat>Widescreen</PresentationFormat>
  <Paragraphs>244</Paragraphs>
  <Slides>9</Slides>
  <Notes>9</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9</vt:i4>
      </vt:variant>
    </vt:vector>
  </HeadingPairs>
  <TitlesOfParts>
    <vt:vector size="19" baseType="lpstr">
      <vt:lpstr>Arial Unicode MS</vt:lpstr>
      <vt:lpstr>Arial</vt:lpstr>
      <vt:lpstr>Arial Black</vt:lpstr>
      <vt:lpstr>Calibri</vt:lpstr>
      <vt:lpstr>Wingdings</vt:lpstr>
      <vt:lpstr>White bkgrnd master</vt:lpstr>
      <vt:lpstr>Blue bkgrnd master</vt:lpstr>
      <vt:lpstr>White bk accent color options</vt:lpstr>
      <vt:lpstr>Blue bk accent color options</vt:lpstr>
      <vt:lpstr>think-cell Slide</vt:lpstr>
      <vt:lpstr>Introduction to the IT Job Architecture</vt:lpstr>
      <vt:lpstr>PowerPoint Presentation</vt:lpstr>
      <vt:lpstr>What Is an IT Job Architecture? </vt:lpstr>
      <vt:lpstr>Job Architecture Lays the Foundation and Building Blocks for All Aspects of Talent Management</vt:lpstr>
      <vt:lpstr>A Solid IT Job Architecture Is a Prerequisite to Successful Digital Transformation</vt:lpstr>
      <vt:lpstr>Three Layers of an IT Job Architecture </vt:lpstr>
      <vt:lpstr>Gartner’s IT Job Architecture Baseline Framework</vt:lpstr>
      <vt:lpstr>Job Family Descriptions</vt:lpstr>
      <vt:lpstr>Job Architecture Provides an Organizing Framework for Mapping Jobs and Career Ladders to Compensation Structure </vt:lpstr>
    </vt:vector>
  </TitlesOfParts>
  <Manager/>
  <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1-08-27T19:29:35Z</dcterms:created>
  <dcterms:modified xsi:type="dcterms:W3CDTF">2021-08-27T19:29:39Z</dcterms:modified>
  <cp:category/>
</cp:coreProperties>
</file>